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8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9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0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2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4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7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4169" r:id="rId1"/>
    <p:sldMasterId id="2147484176" r:id="rId2"/>
    <p:sldMasterId id="2147484182" r:id="rId3"/>
    <p:sldMasterId id="2147484189" r:id="rId4"/>
    <p:sldMasterId id="2147484195" r:id="rId5"/>
    <p:sldMasterId id="2147484200" r:id="rId6"/>
    <p:sldMasterId id="2147485093" r:id="rId7"/>
    <p:sldMasterId id="2147485243" r:id="rId8"/>
    <p:sldMasterId id="2147485412" r:id="rId9"/>
    <p:sldMasterId id="2147485521" r:id="rId10"/>
    <p:sldMasterId id="2147485648" r:id="rId11"/>
    <p:sldMasterId id="2147485904" r:id="rId12"/>
    <p:sldMasterId id="2147488808" r:id="rId13"/>
    <p:sldMasterId id="2147493775" r:id="rId14"/>
    <p:sldMasterId id="2147494083" r:id="rId15"/>
    <p:sldMasterId id="2147494252" r:id="rId16"/>
    <p:sldMasterId id="2147494254" r:id="rId17"/>
    <p:sldMasterId id="2147494264" r:id="rId18"/>
  </p:sldMasterIdLst>
  <p:notesMasterIdLst>
    <p:notesMasterId r:id="rId38"/>
  </p:notesMasterIdLst>
  <p:handoutMasterIdLst>
    <p:handoutMasterId r:id="rId39"/>
  </p:handoutMasterIdLst>
  <p:sldIdLst>
    <p:sldId id="1646" r:id="rId19"/>
    <p:sldId id="1658" r:id="rId20"/>
    <p:sldId id="1644" r:id="rId21"/>
    <p:sldId id="1649" r:id="rId22"/>
    <p:sldId id="1661" r:id="rId23"/>
    <p:sldId id="1652" r:id="rId24"/>
    <p:sldId id="1657" r:id="rId25"/>
    <p:sldId id="1666" r:id="rId26"/>
    <p:sldId id="1659" r:id="rId27"/>
    <p:sldId id="1653" r:id="rId28"/>
    <p:sldId id="1654" r:id="rId29"/>
    <p:sldId id="1655" r:id="rId30"/>
    <p:sldId id="1656" r:id="rId31"/>
    <p:sldId id="1663" r:id="rId32"/>
    <p:sldId id="1664" r:id="rId33"/>
    <p:sldId id="1665" r:id="rId34"/>
    <p:sldId id="1668" r:id="rId35"/>
    <p:sldId id="1669" r:id="rId36"/>
    <p:sldId id="1667" r:id="rId37"/>
  </p:sldIdLst>
  <p:sldSz cx="10225088" cy="6858000"/>
  <p:notesSz cx="6797675" cy="99266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>
          <p15:clr>
            <a:srgbClr val="A4A3A4"/>
          </p15:clr>
        </p15:guide>
        <p15:guide id="4" pos="6259">
          <p15:clr>
            <a:srgbClr val="A4A3A4"/>
          </p15:clr>
        </p15:guide>
        <p15:guide id="5" pos="1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FF66"/>
    <a:srgbClr val="FFCCCC"/>
    <a:srgbClr val="FFB5AD"/>
    <a:srgbClr val="EAEAEA"/>
    <a:srgbClr val="0066FF"/>
    <a:srgbClr val="3366CC"/>
    <a:srgbClr val="0000FF"/>
    <a:srgbClr val="003300"/>
    <a:srgbClr val="0034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299" autoAdjust="0"/>
    <p:restoredTop sz="97527" autoAdjust="0"/>
  </p:normalViewPr>
  <p:slideViewPr>
    <p:cSldViewPr>
      <p:cViewPr varScale="1">
        <p:scale>
          <a:sx n="115" d="100"/>
          <a:sy n="115" d="100"/>
        </p:scale>
        <p:origin x="1758" y="84"/>
      </p:cViewPr>
      <p:guideLst>
        <p:guide orient="horz" pos="4201"/>
        <p:guide orient="horz" pos="436"/>
        <p:guide orient="horz"/>
        <p:guide pos="6259"/>
        <p:guide pos="1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378" y="-10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341" cy="495696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0744" y="0"/>
            <a:ext cx="2945341" cy="495696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/>
            </a:lvl1pPr>
          </a:lstStyle>
          <a:p>
            <a:pPr>
              <a:defRPr/>
            </a:pPr>
            <a:fld id="{1E80A4D1-DF0E-42AE-B082-D2E7E048744C}" type="datetimeFigureOut">
              <a:rPr lang="ko-KR" altLang="en-US"/>
              <a:pPr>
                <a:defRPr/>
              </a:pPr>
              <a:t>2018-10-1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29354"/>
            <a:ext cx="2945341" cy="495696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0744" y="9429354"/>
            <a:ext cx="2945341" cy="495696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/>
            </a:lvl1pPr>
          </a:lstStyle>
          <a:p>
            <a:pPr>
              <a:defRPr/>
            </a:pPr>
            <a:fld id="{EDEBF208-D8B2-4A7A-930B-2E658EF06C14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134017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341" cy="495696"/>
          </a:xfrm>
          <a:prstGeom prst="rect">
            <a:avLst/>
          </a:prstGeom>
        </p:spPr>
        <p:txBody>
          <a:bodyPr vert="horz" lIns="92002" tIns="46000" rIns="92002" bIns="4600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744" y="0"/>
            <a:ext cx="2945341" cy="495696"/>
          </a:xfrm>
          <a:prstGeom prst="rect">
            <a:avLst/>
          </a:prstGeom>
        </p:spPr>
        <p:txBody>
          <a:bodyPr vert="horz" lIns="92002" tIns="46000" rIns="92002" bIns="4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4A954913-8431-4EC0-AB85-786ACA2B2F53}" type="datetimeFigureOut">
              <a:rPr lang="ko-KR" altLang="en-US"/>
              <a:pPr>
                <a:defRPr/>
              </a:pPr>
              <a:t>2018-10-18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22300" y="742950"/>
            <a:ext cx="55530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02" tIns="46000" rIns="92002" bIns="46000" rtlCol="0" anchor="ctr"/>
          <a:lstStyle/>
          <a:p>
            <a:pPr lvl="0"/>
            <a:endParaRPr lang="ko-KR" altLang="en-US" noProof="0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1041" y="4717061"/>
            <a:ext cx="5435594" cy="4464445"/>
          </a:xfrm>
          <a:prstGeom prst="rect">
            <a:avLst/>
          </a:prstGeom>
        </p:spPr>
        <p:txBody>
          <a:bodyPr vert="horz" lIns="92002" tIns="46000" rIns="92002" bIns="46000" rtlCol="0">
            <a:normAutofit/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ko-KR" altLang="en-US" noProof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29354"/>
            <a:ext cx="2945341" cy="495696"/>
          </a:xfrm>
          <a:prstGeom prst="rect">
            <a:avLst/>
          </a:prstGeom>
        </p:spPr>
        <p:txBody>
          <a:bodyPr vert="horz" lIns="92002" tIns="46000" rIns="92002" bIns="46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744" y="9429354"/>
            <a:ext cx="2945341" cy="495696"/>
          </a:xfrm>
          <a:prstGeom prst="rect">
            <a:avLst/>
          </a:prstGeom>
        </p:spPr>
        <p:txBody>
          <a:bodyPr vert="horz" lIns="92002" tIns="46000" rIns="92002" bIns="46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A20F5735-322D-4D2B-A668-96DD6DBEE8B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2041598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947988" y="1276350"/>
            <a:ext cx="12644438" cy="84804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0355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 dirty="0" smtClean="0">
              <a:latin typeface="Arial" pitchFamily="34" charset="0"/>
            </a:endParaRPr>
          </a:p>
        </p:txBody>
      </p:sp>
      <p:sp>
        <p:nvSpPr>
          <p:cNvPr id="100356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199BB02-4CC1-45A2-BB9E-F9BC93E7B8F3}" type="slidenum">
              <a:rPr lang="ko-KR" altLang="en-US" smtClean="0">
                <a:latin typeface="Arial" pitchFamily="34" charset="0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ko-KR" altLang="en-US" smtClean="0">
              <a:latin typeface="Arial" pitchFamily="34" charset="0"/>
              <a:ea typeface="굴림" pitchFamily="50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60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6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236C14-4F5B-49CF-B63A-E94DE4E64BD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슬라이드 번호 개체 틀 93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7A4DAE-FB71-4878-9E8D-580C7F941F8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60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6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2D403-0441-4B9F-92B2-4F824B062BE8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tabLst>
                <a:tab pos="4486275" algn="ctr"/>
                <a:tab pos="9313863" algn="r"/>
              </a:tabLst>
              <a:defRPr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latinLnBrk="0">
              <a:defRPr/>
            </a:lvl1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05CA5-72B9-429B-92E8-20CB8083D79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0F3BB-F1A5-479F-8924-27DAD601904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E583EE-124C-447E-A1E6-FDBC6831D28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슬라이드 번호 개체 틀 93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DA65A2-FF2E-48CB-BF65-003A1066E7DF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60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6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0F947-E086-4E6F-92AB-597DF38E593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tabLst>
                <a:tab pos="4486275" algn="ctr"/>
                <a:tab pos="9313863" algn="r"/>
              </a:tabLst>
              <a:defRPr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latinLnBrk="0">
              <a:defRPr/>
            </a:lvl1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646FE8-12D2-451A-BAB7-FBB1701391C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D32B0-F1E4-47CE-A1B2-E2CDB00CA6FC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C5452E-7AF4-4A64-AFF2-A294DBB5A4A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tabLst>
                <a:tab pos="4486275" algn="ctr"/>
                <a:tab pos="9313863" algn="r"/>
              </a:tabLst>
              <a:defRPr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latinLnBrk="0">
              <a:defRPr/>
            </a:lvl1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3B4A4A-FC91-4A43-8EB8-9EB4EA99659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슬라이드 번호 개체 틀 93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A40B2-12DD-4AFE-A59C-18C85EDC8AE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A0B2357-D897-4F8A-9DCE-F41844D8501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D15751B0-8106-469E-9990-2EEB1BE4D9D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07BA705-BCDA-4A16-A348-16CFFF26420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71B6702D-CBED-4F41-B91D-17EE90BE7F1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CDC14887-683B-417F-A12B-ABCD3C9246F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201D634D-2E04-473B-BC96-DEEFCFCF1D48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8B37E91E-90D3-4784-8D06-98696F81CE3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BE797A06-33D0-4ACB-97A2-B0E37B67BA4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 advTm="2000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54B1A5-4DB1-4A60-97B9-294204659BB8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 userDrawn="1"/>
        </p:nvSpPr>
        <p:spPr bwMode="auto">
          <a:xfrm>
            <a:off x="1930400" y="4933950"/>
            <a:ext cx="26035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611" tIns="44806" rIns="89611" bIns="44806">
            <a:spAutoFit/>
          </a:bodyPr>
          <a:lstStyle/>
          <a:p>
            <a:pPr algn="just" defTabSz="762000" fontAlgn="auto" latinLnBrk="0">
              <a:lnSpc>
                <a:spcPct val="105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kumimoji="0" lang="en-US" altLang="ko-KR" sz="16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ko-KR" altLang="en-US" sz="16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ABFB14D0-9563-4C86-8E01-9AA84E7D80F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2325D963-01BF-43B2-9A05-864942D1F60E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5729950-DF17-472A-ABF5-35201E5DAD9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FFB6EA1F-E58C-4BCC-A815-A3729DABEAC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 userDrawn="1"/>
        </p:nvSpPr>
        <p:spPr bwMode="auto">
          <a:xfrm>
            <a:off x="1930400" y="4933950"/>
            <a:ext cx="260350" cy="349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9611" tIns="44806" rIns="89611" bIns="44806">
            <a:spAutoFit/>
          </a:bodyPr>
          <a:lstStyle>
            <a:lvl1pPr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just" eaLnBrk="1" latinLnBrk="0" hangingPunct="1">
              <a:lnSpc>
                <a:spcPct val="105000"/>
              </a:lnSpc>
              <a:spcBef>
                <a:spcPct val="50000"/>
              </a:spcBef>
              <a:defRPr/>
            </a:pPr>
            <a:r>
              <a:rPr kumimoji="0" lang="en-US" altLang="ko-KR" sz="16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ko-KR" altLang="en-US" sz="16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6D11767D-6854-4670-8332-84DB7CEBF748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9705D9AC-E5B9-4A13-A130-BB1B4067BD3C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74D5D287-A983-4D1C-9075-737200AFB15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E418BA95-F8D2-4F7B-9E95-D872061458F2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61C37D-E4DF-46C5-AE39-02369305CE0C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D7D84165-4577-4C32-9A15-A7A26B5A1107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F2B4BDB3-2128-4041-8527-97F20C2FD9A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69284776-1578-492E-AE57-127EE5BD4965}" type="slidenum">
              <a:rPr kumimoji="0" lang="ko-KR" altLang="en-US" sz="1200">
                <a:solidFill>
                  <a:prstClr val="black"/>
                </a:solidFill>
                <a:latin typeface="맑은 고딕"/>
                <a:ea typeface="맑은 고딕"/>
              </a:rPr>
              <a:pPr algn="r">
                <a:defRPr/>
              </a:pPr>
              <a:t>‹#›</a:t>
            </a:fld>
            <a:endParaRPr kumimoji="0" lang="ko-KR" altLang="en-US" sz="12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 userDrawn="1"/>
        </p:nvSpPr>
        <p:spPr bwMode="auto">
          <a:xfrm>
            <a:off x="1930400" y="4933950"/>
            <a:ext cx="260350" cy="349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9611" tIns="44806" rIns="89611" bIns="44806">
            <a:spAutoFit/>
          </a:bodyPr>
          <a:lstStyle>
            <a:lvl1pPr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just" eaLnBrk="1" latinLnBrk="0" hangingPunct="1">
              <a:lnSpc>
                <a:spcPct val="105000"/>
              </a:lnSpc>
              <a:spcBef>
                <a:spcPct val="50000"/>
              </a:spcBef>
              <a:defRPr/>
            </a:pPr>
            <a:r>
              <a:rPr kumimoji="0" lang="en-US" altLang="ko-KR" sz="16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ko-KR" altLang="en-US" sz="16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0524FCD1-02A0-4785-8BF9-88976A5EDE81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98D7325E-347C-431F-8846-F2A8AAC7AABC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CA15993F-CC37-45E2-A8DD-20EBBB1BA621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534AA1C-D707-408F-B51D-1754A18F2E8E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DCAD7AB6-4131-4E3A-8E22-F53FF719DC6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0C872D66-996D-48A2-9E3D-4D5E38DBB98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슬라이드 번호 개체 틀 93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53BFA-98CE-4A27-8B64-5A953BB8848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EBBB8CC7-BF28-4FED-8075-D42DE364AC80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 userDrawn="1"/>
        </p:nvSpPr>
        <p:spPr bwMode="auto">
          <a:xfrm>
            <a:off x="1930400" y="4933950"/>
            <a:ext cx="260350" cy="349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9611" tIns="44806" rIns="89611" bIns="44806">
            <a:spAutoFit/>
          </a:bodyPr>
          <a:lstStyle>
            <a:lvl1pPr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just" eaLnBrk="1" latinLnBrk="0" hangingPunct="1">
              <a:lnSpc>
                <a:spcPct val="105000"/>
              </a:lnSpc>
              <a:spcBef>
                <a:spcPct val="50000"/>
              </a:spcBef>
              <a:defRPr/>
            </a:pPr>
            <a:r>
              <a:rPr kumimoji="0" lang="en-US" altLang="ko-KR" sz="16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ko-KR" altLang="en-US" sz="16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888F9CB4-4B97-4ED1-A744-3B95C2E43A69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7E0F0583-5F38-4360-B127-2BD5FD080C8D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457A1D69-B31A-49D7-A6CF-38177ACEF0A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23703BC6-52DA-441F-A073-3BB7E17404D1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860203C6-5951-4715-98C7-7ED1B41C5E6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EAE85B82-0F1A-457B-A24C-F0419A89ED8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62B6310C-554B-4CFF-8897-EBD39654C413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 userDrawn="1"/>
        </p:nvSpPr>
        <p:spPr bwMode="auto">
          <a:xfrm>
            <a:off x="1930400" y="4933950"/>
            <a:ext cx="260350" cy="349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89611" tIns="44806" rIns="89611" bIns="44806">
            <a:spAutoFit/>
          </a:bodyPr>
          <a:lstStyle>
            <a:lvl1pPr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just" eaLnBrk="1" latinLnBrk="0" hangingPunct="1">
              <a:lnSpc>
                <a:spcPct val="105000"/>
              </a:lnSpc>
              <a:spcBef>
                <a:spcPct val="50000"/>
              </a:spcBef>
              <a:defRPr/>
            </a:pPr>
            <a:r>
              <a:rPr kumimoji="0" lang="en-US" altLang="ko-KR" sz="16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ko-KR" altLang="en-US" sz="16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60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6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FD4BBF-0A37-4FD9-AF59-A92601F51EB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91EFD589-B71F-4E70-9C35-39D1166E920E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3DFA9741-EB07-4FE7-97E9-8792D1934906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AEECC914-2E7D-4AC8-9E71-98E338F3208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CBA2A436-8B48-424D-8C39-33B226772F4E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E682608E-6DD6-4762-A854-001F570CF25A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831059CD-45A0-4520-BCDA-C2D02D3F892A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A8A44695-2873-4B0D-A696-AB57049942EE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089628DD-442E-4397-B412-3B6F9080CC0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042AE83D-08E9-493B-A477-D6C2A06ABDA2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0B669204-D402-4EB0-ABA8-3C696B79E43F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tabLst>
                <a:tab pos="4486275" algn="ctr"/>
                <a:tab pos="9313863" algn="r"/>
              </a:tabLst>
              <a:defRPr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latinLnBrk="0">
              <a:defRPr/>
            </a:lvl1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4D8A2A-6CFE-40F3-B8DF-049E6C41947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1202" r="2580"/>
          <a:stretch>
            <a:fillRect/>
          </a:stretch>
        </p:blipFill>
        <p:spPr bwMode="auto">
          <a:xfrm>
            <a:off x="0" y="3338516"/>
            <a:ext cx="10225088" cy="162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2586057" y="800100"/>
            <a:ext cx="7602537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ko-KR" altLang="en-US" sz="4800" b="1" dirty="0">
              <a:solidFill>
                <a:srgbClr val="000000"/>
              </a:solidFill>
              <a:latin typeface="Moebius" pitchFamily="18" charset="0"/>
              <a:ea typeface="맑은 고딕" pitchFamily="50" charset="-127"/>
            </a:endParaRPr>
          </a:p>
        </p:txBody>
      </p:sp>
      <p:grpSp>
        <p:nvGrpSpPr>
          <p:cNvPr id="4" name="Group 51"/>
          <p:cNvGrpSpPr>
            <a:grpSpLocks/>
          </p:cNvGrpSpPr>
          <p:nvPr userDrawn="1"/>
        </p:nvGrpSpPr>
        <p:grpSpPr bwMode="auto">
          <a:xfrm>
            <a:off x="8085138" y="6148388"/>
            <a:ext cx="2128837" cy="514350"/>
            <a:chOff x="4934" y="3873"/>
            <a:chExt cx="1299" cy="324"/>
          </a:xfrm>
        </p:grpSpPr>
        <p:pic>
          <p:nvPicPr>
            <p:cNvPr id="5" name="Picture 10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4934" y="3896"/>
              <a:ext cx="687" cy="2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6" name="Picture 50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637" y="3873"/>
              <a:ext cx="596" cy="32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spd="slow" advTm="2000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78453" y="152400"/>
            <a:ext cx="7055966" cy="4318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http://www.sktelecom.com/img/sktelecom/img_business_globalc.gi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89075" y="195263"/>
            <a:ext cx="7340600" cy="305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3" descr="SKC&amp;C_color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7950" y="6015074"/>
            <a:ext cx="9572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44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7681" y="5881688"/>
            <a:ext cx="145732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 userDrawn="1"/>
        </p:nvSpPr>
        <p:spPr bwMode="auto">
          <a:xfrm>
            <a:off x="0" y="6603276"/>
            <a:ext cx="10225088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1000" kern="0" dirty="0">
                <a:solidFill>
                  <a:srgbClr val="FFFFFF">
                    <a:lumMod val="65000"/>
                  </a:srgbClr>
                </a:solidFill>
                <a:effectLst>
                  <a:innerShdw blurRad="114300">
                    <a:prstClr val="black"/>
                  </a:innerShdw>
                </a:effectLst>
                <a:latin typeface="맑은 고딕"/>
                <a:ea typeface="맑은 고딕"/>
              </a:rPr>
              <a:t>       It’s not “want to be”, we should be there!</a:t>
            </a:r>
          </a:p>
        </p:txBody>
      </p:sp>
      <p:sp>
        <p:nvSpPr>
          <p:cNvPr id="6" name="사각형 설명선 12"/>
          <p:cNvSpPr/>
          <p:nvPr userDrawn="1"/>
        </p:nvSpPr>
        <p:spPr bwMode="auto">
          <a:xfrm>
            <a:off x="2419352" y="2168561"/>
            <a:ext cx="377825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사각형 설명선 12"/>
          <p:cNvSpPr/>
          <p:nvPr userDrawn="1"/>
        </p:nvSpPr>
        <p:spPr bwMode="auto">
          <a:xfrm>
            <a:off x="6777038" y="2287588"/>
            <a:ext cx="379412" cy="239712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사각형 설명선 12"/>
          <p:cNvSpPr/>
          <p:nvPr userDrawn="1"/>
        </p:nvSpPr>
        <p:spPr bwMode="auto">
          <a:xfrm>
            <a:off x="3251201" y="1177961"/>
            <a:ext cx="377825" cy="239713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사각형 설명선 12"/>
          <p:cNvSpPr/>
          <p:nvPr userDrawn="1"/>
        </p:nvSpPr>
        <p:spPr bwMode="auto">
          <a:xfrm>
            <a:off x="1952643" y="1300199"/>
            <a:ext cx="379413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사각형 설명선 12"/>
          <p:cNvSpPr/>
          <p:nvPr userDrawn="1"/>
        </p:nvSpPr>
        <p:spPr bwMode="auto">
          <a:xfrm>
            <a:off x="2387600" y="1062074"/>
            <a:ext cx="377825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사각형 설명선 12"/>
          <p:cNvSpPr/>
          <p:nvPr userDrawn="1"/>
        </p:nvSpPr>
        <p:spPr bwMode="auto">
          <a:xfrm>
            <a:off x="2382853" y="1419261"/>
            <a:ext cx="377825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사각형 설명선 12"/>
          <p:cNvSpPr/>
          <p:nvPr userDrawn="1"/>
        </p:nvSpPr>
        <p:spPr bwMode="auto">
          <a:xfrm>
            <a:off x="6319838" y="1657352"/>
            <a:ext cx="379412" cy="239713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사각형 설명선 12"/>
          <p:cNvSpPr/>
          <p:nvPr userDrawn="1"/>
        </p:nvSpPr>
        <p:spPr bwMode="auto">
          <a:xfrm>
            <a:off x="6772293" y="2578136"/>
            <a:ext cx="379413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사각형 설명선 12"/>
          <p:cNvSpPr/>
          <p:nvPr userDrawn="1"/>
        </p:nvSpPr>
        <p:spPr bwMode="auto">
          <a:xfrm>
            <a:off x="2138363" y="1897067"/>
            <a:ext cx="377825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사각형 설명선 12"/>
          <p:cNvSpPr/>
          <p:nvPr userDrawn="1"/>
        </p:nvSpPr>
        <p:spPr bwMode="auto">
          <a:xfrm>
            <a:off x="3833813" y="1887538"/>
            <a:ext cx="379412" cy="239712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자유형 15"/>
          <p:cNvSpPr/>
          <p:nvPr userDrawn="1"/>
        </p:nvSpPr>
        <p:spPr bwMode="auto">
          <a:xfrm>
            <a:off x="2797186" y="1174786"/>
            <a:ext cx="93663" cy="169863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3020" h="567768">
                <a:moveTo>
                  <a:pt x="1303020" y="533400"/>
                </a:moveTo>
                <a:cubicBezTo>
                  <a:pt x="1080135" y="566420"/>
                  <a:pt x="857250" y="599440"/>
                  <a:pt x="640080" y="510540"/>
                </a:cubicBezTo>
                <a:cubicBezTo>
                  <a:pt x="422910" y="421640"/>
                  <a:pt x="211455" y="210820"/>
                  <a:pt x="0" y="0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wrap="none"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sp>
        <p:nvSpPr>
          <p:cNvPr id="17" name="자유형 16"/>
          <p:cNvSpPr/>
          <p:nvPr userDrawn="1"/>
        </p:nvSpPr>
        <p:spPr bwMode="auto">
          <a:xfrm>
            <a:off x="2549525" y="1516063"/>
            <a:ext cx="1565275" cy="169862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  <a:gd name="connsiteX0" fmla="*/ 1376817 w 1376817"/>
              <a:gd name="connsiteY0" fmla="*/ 0 h 804636"/>
              <a:gd name="connsiteX1" fmla="*/ 640080 w 1376817"/>
              <a:gd name="connsiteY1" fmla="*/ 800100 h 804636"/>
              <a:gd name="connsiteX2" fmla="*/ 0 w 1376817"/>
              <a:gd name="connsiteY2" fmla="*/ 289560 h 804636"/>
              <a:gd name="connsiteX0" fmla="*/ 1303020 w 1303020"/>
              <a:gd name="connsiteY0" fmla="*/ 632460 h 642590"/>
              <a:gd name="connsiteX1" fmla="*/ 640080 w 1303020"/>
              <a:gd name="connsiteY1" fmla="*/ 510540 h 642590"/>
              <a:gd name="connsiteX2" fmla="*/ 0 w 1303020"/>
              <a:gd name="connsiteY2" fmla="*/ 0 h 642590"/>
              <a:gd name="connsiteX0" fmla="*/ 1223074 w 1223074"/>
              <a:gd name="connsiteY0" fmla="*/ 123957 h 317459"/>
              <a:gd name="connsiteX1" fmla="*/ 560134 w 1223074"/>
              <a:gd name="connsiteY1" fmla="*/ 2037 h 317459"/>
              <a:gd name="connsiteX2" fmla="*/ 0 w 1223074"/>
              <a:gd name="connsiteY2" fmla="*/ 261117 h 317459"/>
              <a:gd name="connsiteX0" fmla="*/ 1223074 w 1223074"/>
              <a:gd name="connsiteY0" fmla="*/ 214739 h 400743"/>
              <a:gd name="connsiteX1" fmla="*/ 480188 w 1223074"/>
              <a:gd name="connsiteY1" fmla="*/ 1379 h 400743"/>
              <a:gd name="connsiteX2" fmla="*/ 0 w 1223074"/>
              <a:gd name="connsiteY2" fmla="*/ 351899 h 400743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3360 h 350520"/>
              <a:gd name="connsiteX1" fmla="*/ 480188 w 1223074"/>
              <a:gd name="connsiteY1" fmla="*/ 0 h 350520"/>
              <a:gd name="connsiteX2" fmla="*/ 0 w 1223074"/>
              <a:gd name="connsiteY2" fmla="*/ 350520 h 350520"/>
              <a:gd name="connsiteX0" fmla="*/ 1223074 w 1223074"/>
              <a:gd name="connsiteY0" fmla="*/ 215513 h 352673"/>
              <a:gd name="connsiteX1" fmla="*/ 480188 w 1223074"/>
              <a:gd name="connsiteY1" fmla="*/ 2153 h 352673"/>
              <a:gd name="connsiteX2" fmla="*/ 0 w 1223074"/>
              <a:gd name="connsiteY2" fmla="*/ 352673 h 352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3074" h="352673">
                <a:moveTo>
                  <a:pt x="1223074" y="215513"/>
                </a:moveTo>
                <a:cubicBezTo>
                  <a:pt x="975445" y="144393"/>
                  <a:pt x="684034" y="-20707"/>
                  <a:pt x="480188" y="2153"/>
                </a:cubicBezTo>
                <a:cubicBezTo>
                  <a:pt x="276342" y="25013"/>
                  <a:pt x="160063" y="235833"/>
                  <a:pt x="0" y="352673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sp>
        <p:nvSpPr>
          <p:cNvPr id="18" name="자유형 17"/>
          <p:cNvSpPr/>
          <p:nvPr userDrawn="1"/>
        </p:nvSpPr>
        <p:spPr bwMode="auto">
          <a:xfrm>
            <a:off x="2366981" y="1312863"/>
            <a:ext cx="1768475" cy="169862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  <a:gd name="connsiteX0" fmla="*/ 1376817 w 1376817"/>
              <a:gd name="connsiteY0" fmla="*/ 0 h 804636"/>
              <a:gd name="connsiteX1" fmla="*/ 640080 w 1376817"/>
              <a:gd name="connsiteY1" fmla="*/ 800100 h 804636"/>
              <a:gd name="connsiteX2" fmla="*/ 0 w 1376817"/>
              <a:gd name="connsiteY2" fmla="*/ 289560 h 804636"/>
              <a:gd name="connsiteX0" fmla="*/ 1303020 w 1303020"/>
              <a:gd name="connsiteY0" fmla="*/ 632460 h 642590"/>
              <a:gd name="connsiteX1" fmla="*/ 640080 w 1303020"/>
              <a:gd name="connsiteY1" fmla="*/ 510540 h 642590"/>
              <a:gd name="connsiteX2" fmla="*/ 0 w 1303020"/>
              <a:gd name="connsiteY2" fmla="*/ 0 h 642590"/>
              <a:gd name="connsiteX0" fmla="*/ 1223074 w 1223074"/>
              <a:gd name="connsiteY0" fmla="*/ 123957 h 317459"/>
              <a:gd name="connsiteX1" fmla="*/ 560134 w 1223074"/>
              <a:gd name="connsiteY1" fmla="*/ 2037 h 317459"/>
              <a:gd name="connsiteX2" fmla="*/ 0 w 1223074"/>
              <a:gd name="connsiteY2" fmla="*/ 261117 h 317459"/>
              <a:gd name="connsiteX0" fmla="*/ 1223074 w 1223074"/>
              <a:gd name="connsiteY0" fmla="*/ 214739 h 400743"/>
              <a:gd name="connsiteX1" fmla="*/ 480188 w 1223074"/>
              <a:gd name="connsiteY1" fmla="*/ 1379 h 400743"/>
              <a:gd name="connsiteX2" fmla="*/ 0 w 1223074"/>
              <a:gd name="connsiteY2" fmla="*/ 351899 h 400743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3360 h 350520"/>
              <a:gd name="connsiteX1" fmla="*/ 480188 w 1223074"/>
              <a:gd name="connsiteY1" fmla="*/ 0 h 350520"/>
              <a:gd name="connsiteX2" fmla="*/ 0 w 1223074"/>
              <a:gd name="connsiteY2" fmla="*/ 350520 h 350520"/>
              <a:gd name="connsiteX0" fmla="*/ 1223074 w 1223074"/>
              <a:gd name="connsiteY0" fmla="*/ 215513 h 352673"/>
              <a:gd name="connsiteX1" fmla="*/ 480188 w 1223074"/>
              <a:gd name="connsiteY1" fmla="*/ 2153 h 352673"/>
              <a:gd name="connsiteX2" fmla="*/ 0 w 1223074"/>
              <a:gd name="connsiteY2" fmla="*/ 352673 h 352673"/>
              <a:gd name="connsiteX0" fmla="*/ 1382967 w 1382967"/>
              <a:gd name="connsiteY0" fmla="*/ 360172 h 360172"/>
              <a:gd name="connsiteX1" fmla="*/ 640081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2967" h="360172">
                <a:moveTo>
                  <a:pt x="1382967" y="360172"/>
                </a:moveTo>
                <a:cubicBezTo>
                  <a:pt x="1256283" y="289052"/>
                  <a:pt x="1233408" y="200152"/>
                  <a:pt x="1002914" y="146812"/>
                </a:cubicBezTo>
                <a:cubicBezTo>
                  <a:pt x="772420" y="93472"/>
                  <a:pt x="160063" y="-76708"/>
                  <a:pt x="0" y="40132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sp>
        <p:nvSpPr>
          <p:cNvPr id="19" name="자유형 18"/>
          <p:cNvSpPr/>
          <p:nvPr userDrawn="1"/>
        </p:nvSpPr>
        <p:spPr bwMode="auto">
          <a:xfrm flipH="1">
            <a:off x="4260851" y="1565311"/>
            <a:ext cx="2058988" cy="169863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  <a:gd name="connsiteX0" fmla="*/ 1376817 w 1376817"/>
              <a:gd name="connsiteY0" fmla="*/ 0 h 804636"/>
              <a:gd name="connsiteX1" fmla="*/ 640080 w 1376817"/>
              <a:gd name="connsiteY1" fmla="*/ 800100 h 804636"/>
              <a:gd name="connsiteX2" fmla="*/ 0 w 1376817"/>
              <a:gd name="connsiteY2" fmla="*/ 289560 h 804636"/>
              <a:gd name="connsiteX0" fmla="*/ 1303020 w 1303020"/>
              <a:gd name="connsiteY0" fmla="*/ 632460 h 642590"/>
              <a:gd name="connsiteX1" fmla="*/ 640080 w 1303020"/>
              <a:gd name="connsiteY1" fmla="*/ 510540 h 642590"/>
              <a:gd name="connsiteX2" fmla="*/ 0 w 1303020"/>
              <a:gd name="connsiteY2" fmla="*/ 0 h 642590"/>
              <a:gd name="connsiteX0" fmla="*/ 1223074 w 1223074"/>
              <a:gd name="connsiteY0" fmla="*/ 123957 h 317459"/>
              <a:gd name="connsiteX1" fmla="*/ 560134 w 1223074"/>
              <a:gd name="connsiteY1" fmla="*/ 2037 h 317459"/>
              <a:gd name="connsiteX2" fmla="*/ 0 w 1223074"/>
              <a:gd name="connsiteY2" fmla="*/ 261117 h 317459"/>
              <a:gd name="connsiteX0" fmla="*/ 1223074 w 1223074"/>
              <a:gd name="connsiteY0" fmla="*/ 214739 h 400743"/>
              <a:gd name="connsiteX1" fmla="*/ 480188 w 1223074"/>
              <a:gd name="connsiteY1" fmla="*/ 1379 h 400743"/>
              <a:gd name="connsiteX2" fmla="*/ 0 w 1223074"/>
              <a:gd name="connsiteY2" fmla="*/ 351899 h 400743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3360 h 350520"/>
              <a:gd name="connsiteX1" fmla="*/ 480188 w 1223074"/>
              <a:gd name="connsiteY1" fmla="*/ 0 h 350520"/>
              <a:gd name="connsiteX2" fmla="*/ 0 w 1223074"/>
              <a:gd name="connsiteY2" fmla="*/ 350520 h 350520"/>
              <a:gd name="connsiteX0" fmla="*/ 1223074 w 1223074"/>
              <a:gd name="connsiteY0" fmla="*/ 215513 h 352673"/>
              <a:gd name="connsiteX1" fmla="*/ 480188 w 1223074"/>
              <a:gd name="connsiteY1" fmla="*/ 2153 h 352673"/>
              <a:gd name="connsiteX2" fmla="*/ 0 w 1223074"/>
              <a:gd name="connsiteY2" fmla="*/ 352673 h 352673"/>
              <a:gd name="connsiteX0" fmla="*/ 1382967 w 1382967"/>
              <a:gd name="connsiteY0" fmla="*/ 360172 h 360172"/>
              <a:gd name="connsiteX1" fmla="*/ 640081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610506 w 1610506"/>
              <a:gd name="connsiteY0" fmla="*/ 414761 h 414761"/>
              <a:gd name="connsiteX1" fmla="*/ 1002914 w 1610506"/>
              <a:gd name="connsiteY1" fmla="*/ 148061 h 414761"/>
              <a:gd name="connsiteX2" fmla="*/ 0 w 1610506"/>
              <a:gd name="connsiteY2" fmla="*/ 41381 h 414761"/>
              <a:gd name="connsiteX0" fmla="*/ 1610506 w 1610506"/>
              <a:gd name="connsiteY0" fmla="*/ 267419 h 267419"/>
              <a:gd name="connsiteX1" fmla="*/ 1002914 w 1610506"/>
              <a:gd name="connsiteY1" fmla="*/ 719 h 267419"/>
              <a:gd name="connsiteX2" fmla="*/ 0 w 1610506"/>
              <a:gd name="connsiteY2" fmla="*/ 206459 h 267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0506" h="267419">
                <a:moveTo>
                  <a:pt x="1610506" y="267419"/>
                </a:moveTo>
                <a:cubicBezTo>
                  <a:pt x="1483822" y="196299"/>
                  <a:pt x="1271332" y="10879"/>
                  <a:pt x="1002914" y="719"/>
                </a:cubicBezTo>
                <a:cubicBezTo>
                  <a:pt x="734496" y="-9441"/>
                  <a:pt x="160063" y="89619"/>
                  <a:pt x="0" y="206459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sp>
        <p:nvSpPr>
          <p:cNvPr id="20" name="자유형 19"/>
          <p:cNvSpPr/>
          <p:nvPr userDrawn="1"/>
        </p:nvSpPr>
        <p:spPr bwMode="auto">
          <a:xfrm flipH="1">
            <a:off x="4243407" y="1839913"/>
            <a:ext cx="2478087" cy="169862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  <a:gd name="connsiteX0" fmla="*/ 1376817 w 1376817"/>
              <a:gd name="connsiteY0" fmla="*/ 0 h 804636"/>
              <a:gd name="connsiteX1" fmla="*/ 640080 w 1376817"/>
              <a:gd name="connsiteY1" fmla="*/ 800100 h 804636"/>
              <a:gd name="connsiteX2" fmla="*/ 0 w 1376817"/>
              <a:gd name="connsiteY2" fmla="*/ 289560 h 804636"/>
              <a:gd name="connsiteX0" fmla="*/ 1303020 w 1303020"/>
              <a:gd name="connsiteY0" fmla="*/ 632460 h 642590"/>
              <a:gd name="connsiteX1" fmla="*/ 640080 w 1303020"/>
              <a:gd name="connsiteY1" fmla="*/ 510540 h 642590"/>
              <a:gd name="connsiteX2" fmla="*/ 0 w 1303020"/>
              <a:gd name="connsiteY2" fmla="*/ 0 h 642590"/>
              <a:gd name="connsiteX0" fmla="*/ 1223074 w 1223074"/>
              <a:gd name="connsiteY0" fmla="*/ 123957 h 317459"/>
              <a:gd name="connsiteX1" fmla="*/ 560134 w 1223074"/>
              <a:gd name="connsiteY1" fmla="*/ 2037 h 317459"/>
              <a:gd name="connsiteX2" fmla="*/ 0 w 1223074"/>
              <a:gd name="connsiteY2" fmla="*/ 261117 h 317459"/>
              <a:gd name="connsiteX0" fmla="*/ 1223074 w 1223074"/>
              <a:gd name="connsiteY0" fmla="*/ 214739 h 400743"/>
              <a:gd name="connsiteX1" fmla="*/ 480188 w 1223074"/>
              <a:gd name="connsiteY1" fmla="*/ 1379 h 400743"/>
              <a:gd name="connsiteX2" fmla="*/ 0 w 1223074"/>
              <a:gd name="connsiteY2" fmla="*/ 351899 h 400743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3360 h 350520"/>
              <a:gd name="connsiteX1" fmla="*/ 480188 w 1223074"/>
              <a:gd name="connsiteY1" fmla="*/ 0 h 350520"/>
              <a:gd name="connsiteX2" fmla="*/ 0 w 1223074"/>
              <a:gd name="connsiteY2" fmla="*/ 350520 h 350520"/>
              <a:gd name="connsiteX0" fmla="*/ 1223074 w 1223074"/>
              <a:gd name="connsiteY0" fmla="*/ 215513 h 352673"/>
              <a:gd name="connsiteX1" fmla="*/ 480188 w 1223074"/>
              <a:gd name="connsiteY1" fmla="*/ 2153 h 352673"/>
              <a:gd name="connsiteX2" fmla="*/ 0 w 1223074"/>
              <a:gd name="connsiteY2" fmla="*/ 352673 h 352673"/>
              <a:gd name="connsiteX0" fmla="*/ 1382967 w 1382967"/>
              <a:gd name="connsiteY0" fmla="*/ 360172 h 360172"/>
              <a:gd name="connsiteX1" fmla="*/ 640081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610506 w 1610506"/>
              <a:gd name="connsiteY0" fmla="*/ 414761 h 414761"/>
              <a:gd name="connsiteX1" fmla="*/ 1002914 w 1610506"/>
              <a:gd name="connsiteY1" fmla="*/ 148061 h 414761"/>
              <a:gd name="connsiteX2" fmla="*/ 0 w 1610506"/>
              <a:gd name="connsiteY2" fmla="*/ 41381 h 414761"/>
              <a:gd name="connsiteX0" fmla="*/ 1610506 w 1610506"/>
              <a:gd name="connsiteY0" fmla="*/ 267419 h 267419"/>
              <a:gd name="connsiteX1" fmla="*/ 1002914 w 1610506"/>
              <a:gd name="connsiteY1" fmla="*/ 719 h 267419"/>
              <a:gd name="connsiteX2" fmla="*/ 0 w 1610506"/>
              <a:gd name="connsiteY2" fmla="*/ 206459 h 267419"/>
              <a:gd name="connsiteX0" fmla="*/ 1788848 w 1788848"/>
              <a:gd name="connsiteY0" fmla="*/ 17571 h 375711"/>
              <a:gd name="connsiteX1" fmla="*/ 1002914 w 1788848"/>
              <a:gd name="connsiteY1" fmla="*/ 169971 h 375711"/>
              <a:gd name="connsiteX2" fmla="*/ 0 w 1788848"/>
              <a:gd name="connsiteY2" fmla="*/ 375711 h 375711"/>
              <a:gd name="connsiteX0" fmla="*/ 1936441 w 1936441"/>
              <a:gd name="connsiteY0" fmla="*/ 19883 h 545663"/>
              <a:gd name="connsiteX1" fmla="*/ 1150507 w 1936441"/>
              <a:gd name="connsiteY1" fmla="*/ 172283 h 545663"/>
              <a:gd name="connsiteX2" fmla="*/ 0 w 1936441"/>
              <a:gd name="connsiteY2" fmla="*/ 545663 h 545663"/>
              <a:gd name="connsiteX0" fmla="*/ 1936441 w 1936441"/>
              <a:gd name="connsiteY0" fmla="*/ 0 h 525780"/>
              <a:gd name="connsiteX1" fmla="*/ 1150507 w 1936441"/>
              <a:gd name="connsiteY1" fmla="*/ 152400 h 525780"/>
              <a:gd name="connsiteX2" fmla="*/ 0 w 1936441"/>
              <a:gd name="connsiteY2" fmla="*/ 525780 h 52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6441" h="525780">
                <a:moveTo>
                  <a:pt x="1936441" y="0"/>
                </a:moveTo>
                <a:lnTo>
                  <a:pt x="1150507" y="152400"/>
                </a:lnTo>
                <a:cubicBezTo>
                  <a:pt x="827767" y="240030"/>
                  <a:pt x="160063" y="408940"/>
                  <a:pt x="0" y="525780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sp>
        <p:nvSpPr>
          <p:cNvPr id="21" name="자유형 20"/>
          <p:cNvSpPr/>
          <p:nvPr userDrawn="1"/>
        </p:nvSpPr>
        <p:spPr bwMode="auto">
          <a:xfrm flipH="1">
            <a:off x="4227513" y="1841501"/>
            <a:ext cx="2508250" cy="169863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  <a:gd name="connsiteX0" fmla="*/ 1376817 w 1376817"/>
              <a:gd name="connsiteY0" fmla="*/ 0 h 804636"/>
              <a:gd name="connsiteX1" fmla="*/ 640080 w 1376817"/>
              <a:gd name="connsiteY1" fmla="*/ 800100 h 804636"/>
              <a:gd name="connsiteX2" fmla="*/ 0 w 1376817"/>
              <a:gd name="connsiteY2" fmla="*/ 289560 h 804636"/>
              <a:gd name="connsiteX0" fmla="*/ 1303020 w 1303020"/>
              <a:gd name="connsiteY0" fmla="*/ 632460 h 642590"/>
              <a:gd name="connsiteX1" fmla="*/ 640080 w 1303020"/>
              <a:gd name="connsiteY1" fmla="*/ 510540 h 642590"/>
              <a:gd name="connsiteX2" fmla="*/ 0 w 1303020"/>
              <a:gd name="connsiteY2" fmla="*/ 0 h 642590"/>
              <a:gd name="connsiteX0" fmla="*/ 1223074 w 1223074"/>
              <a:gd name="connsiteY0" fmla="*/ 123957 h 317459"/>
              <a:gd name="connsiteX1" fmla="*/ 560134 w 1223074"/>
              <a:gd name="connsiteY1" fmla="*/ 2037 h 317459"/>
              <a:gd name="connsiteX2" fmla="*/ 0 w 1223074"/>
              <a:gd name="connsiteY2" fmla="*/ 261117 h 317459"/>
              <a:gd name="connsiteX0" fmla="*/ 1223074 w 1223074"/>
              <a:gd name="connsiteY0" fmla="*/ 214739 h 400743"/>
              <a:gd name="connsiteX1" fmla="*/ 480188 w 1223074"/>
              <a:gd name="connsiteY1" fmla="*/ 1379 h 400743"/>
              <a:gd name="connsiteX2" fmla="*/ 0 w 1223074"/>
              <a:gd name="connsiteY2" fmla="*/ 351899 h 400743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4739 h 351899"/>
              <a:gd name="connsiteX1" fmla="*/ 480188 w 1223074"/>
              <a:gd name="connsiteY1" fmla="*/ 1379 h 351899"/>
              <a:gd name="connsiteX2" fmla="*/ 0 w 1223074"/>
              <a:gd name="connsiteY2" fmla="*/ 351899 h 351899"/>
              <a:gd name="connsiteX0" fmla="*/ 1223074 w 1223074"/>
              <a:gd name="connsiteY0" fmla="*/ 213360 h 350520"/>
              <a:gd name="connsiteX1" fmla="*/ 480188 w 1223074"/>
              <a:gd name="connsiteY1" fmla="*/ 0 h 350520"/>
              <a:gd name="connsiteX2" fmla="*/ 0 w 1223074"/>
              <a:gd name="connsiteY2" fmla="*/ 350520 h 350520"/>
              <a:gd name="connsiteX0" fmla="*/ 1223074 w 1223074"/>
              <a:gd name="connsiteY0" fmla="*/ 215513 h 352673"/>
              <a:gd name="connsiteX1" fmla="*/ 480188 w 1223074"/>
              <a:gd name="connsiteY1" fmla="*/ 2153 h 352673"/>
              <a:gd name="connsiteX2" fmla="*/ 0 w 1223074"/>
              <a:gd name="connsiteY2" fmla="*/ 352673 h 352673"/>
              <a:gd name="connsiteX0" fmla="*/ 1382967 w 1382967"/>
              <a:gd name="connsiteY0" fmla="*/ 360172 h 360172"/>
              <a:gd name="connsiteX1" fmla="*/ 640081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382967 w 1382967"/>
              <a:gd name="connsiteY0" fmla="*/ 360172 h 360172"/>
              <a:gd name="connsiteX1" fmla="*/ 1002914 w 1382967"/>
              <a:gd name="connsiteY1" fmla="*/ 146812 h 360172"/>
              <a:gd name="connsiteX2" fmla="*/ 0 w 1382967"/>
              <a:gd name="connsiteY2" fmla="*/ 40132 h 360172"/>
              <a:gd name="connsiteX0" fmla="*/ 1610506 w 1610506"/>
              <a:gd name="connsiteY0" fmla="*/ 414761 h 414761"/>
              <a:gd name="connsiteX1" fmla="*/ 1002914 w 1610506"/>
              <a:gd name="connsiteY1" fmla="*/ 148061 h 414761"/>
              <a:gd name="connsiteX2" fmla="*/ 0 w 1610506"/>
              <a:gd name="connsiteY2" fmla="*/ 41381 h 414761"/>
              <a:gd name="connsiteX0" fmla="*/ 1610506 w 1610506"/>
              <a:gd name="connsiteY0" fmla="*/ 267419 h 267419"/>
              <a:gd name="connsiteX1" fmla="*/ 1002914 w 1610506"/>
              <a:gd name="connsiteY1" fmla="*/ 719 h 267419"/>
              <a:gd name="connsiteX2" fmla="*/ 0 w 1610506"/>
              <a:gd name="connsiteY2" fmla="*/ 206459 h 267419"/>
              <a:gd name="connsiteX0" fmla="*/ 1788848 w 1788848"/>
              <a:gd name="connsiteY0" fmla="*/ 17571 h 375711"/>
              <a:gd name="connsiteX1" fmla="*/ 1002914 w 1788848"/>
              <a:gd name="connsiteY1" fmla="*/ 169971 h 375711"/>
              <a:gd name="connsiteX2" fmla="*/ 0 w 1788848"/>
              <a:gd name="connsiteY2" fmla="*/ 375711 h 375711"/>
              <a:gd name="connsiteX0" fmla="*/ 1936441 w 1936441"/>
              <a:gd name="connsiteY0" fmla="*/ 19883 h 545663"/>
              <a:gd name="connsiteX1" fmla="*/ 1150507 w 1936441"/>
              <a:gd name="connsiteY1" fmla="*/ 172283 h 545663"/>
              <a:gd name="connsiteX2" fmla="*/ 0 w 1936441"/>
              <a:gd name="connsiteY2" fmla="*/ 545663 h 545663"/>
              <a:gd name="connsiteX0" fmla="*/ 1936441 w 1936441"/>
              <a:gd name="connsiteY0" fmla="*/ 0 h 525780"/>
              <a:gd name="connsiteX1" fmla="*/ 1150507 w 1936441"/>
              <a:gd name="connsiteY1" fmla="*/ 152400 h 525780"/>
              <a:gd name="connsiteX2" fmla="*/ 0 w 1936441"/>
              <a:gd name="connsiteY2" fmla="*/ 525780 h 525780"/>
              <a:gd name="connsiteX0" fmla="*/ 1961040 w 1961040"/>
              <a:gd name="connsiteY0" fmla="*/ 0 h 830580"/>
              <a:gd name="connsiteX1" fmla="*/ 1175106 w 1961040"/>
              <a:gd name="connsiteY1" fmla="*/ 152400 h 830580"/>
              <a:gd name="connsiteX2" fmla="*/ 0 w 1961040"/>
              <a:gd name="connsiteY2" fmla="*/ 830580 h 83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61040" h="830580">
                <a:moveTo>
                  <a:pt x="1961040" y="0"/>
                </a:moveTo>
                <a:cubicBezTo>
                  <a:pt x="1699062" y="50800"/>
                  <a:pt x="1501946" y="13970"/>
                  <a:pt x="1175106" y="152400"/>
                </a:cubicBezTo>
                <a:cubicBezTo>
                  <a:pt x="848266" y="290830"/>
                  <a:pt x="160063" y="713740"/>
                  <a:pt x="0" y="830580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sp>
        <p:nvSpPr>
          <p:cNvPr id="22" name="자유형 21"/>
          <p:cNvSpPr/>
          <p:nvPr userDrawn="1"/>
        </p:nvSpPr>
        <p:spPr bwMode="auto">
          <a:xfrm>
            <a:off x="2717802" y="1725615"/>
            <a:ext cx="93873" cy="169277"/>
          </a:xfrm>
          <a:custGeom>
            <a:avLst/>
            <a:gdLst>
              <a:gd name="connsiteX0" fmla="*/ 1303020 w 1303020"/>
              <a:gd name="connsiteY0" fmla="*/ 533400 h 567768"/>
              <a:gd name="connsiteX1" fmla="*/ 640080 w 1303020"/>
              <a:gd name="connsiteY1" fmla="*/ 510540 h 567768"/>
              <a:gd name="connsiteX2" fmla="*/ 0 w 1303020"/>
              <a:gd name="connsiteY2" fmla="*/ 0 h 567768"/>
              <a:gd name="connsiteX0" fmla="*/ 1379220 w 1379220"/>
              <a:gd name="connsiteY0" fmla="*/ 49016 h 579075"/>
              <a:gd name="connsiteX1" fmla="*/ 716280 w 1379220"/>
              <a:gd name="connsiteY1" fmla="*/ 26156 h 579075"/>
              <a:gd name="connsiteX2" fmla="*/ 0 w 1379220"/>
              <a:gd name="connsiteY2" fmla="*/ 536696 h 57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79220" h="579075">
                <a:moveTo>
                  <a:pt x="1379220" y="49016"/>
                </a:moveTo>
                <a:cubicBezTo>
                  <a:pt x="1156335" y="82036"/>
                  <a:pt x="946150" y="-55124"/>
                  <a:pt x="716280" y="26156"/>
                </a:cubicBezTo>
                <a:cubicBezTo>
                  <a:pt x="486410" y="107436"/>
                  <a:pt x="211455" y="747516"/>
                  <a:pt x="0" y="536696"/>
                </a:cubicBezTo>
              </a:path>
            </a:pathLst>
          </a:custGeom>
          <a:noFill/>
          <a:ln w="28575" algn="ctr">
            <a:solidFill>
              <a:srgbClr val="A6A6A6">
                <a:alpha val="49000"/>
              </a:srgbClr>
            </a:solidFill>
            <a:miter lim="800000"/>
            <a:headEnd/>
            <a:tailEnd type="triangle"/>
          </a:ln>
        </p:spPr>
        <p:txBody>
          <a:bodyPr wrap="none" lIns="72000" tIns="0" rIns="18000" bIns="0">
            <a:spAutoFit/>
          </a:bodyPr>
          <a:lstStyle/>
          <a:p>
            <a:pPr latinLnBrk="0">
              <a:defRPr/>
            </a:pPr>
            <a:endParaRPr lang="ko-KR" altLang="en-US" sz="1100">
              <a:solidFill>
                <a:srgbClr val="000000"/>
              </a:solidFill>
              <a:latin typeface="Arial" pitchFamily="34" charset="0"/>
              <a:ea typeface="HY태고딕" pitchFamily="18" charset="-127"/>
              <a:cs typeface="Arials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40113" y="1417638"/>
            <a:ext cx="3159125" cy="219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 userDrawn="1"/>
        </p:nvSpPr>
        <p:spPr bwMode="auto">
          <a:xfrm>
            <a:off x="1499923" y="3068993"/>
            <a:ext cx="231186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1400" kern="0" dirty="0">
                <a:solidFill>
                  <a:srgbClr val="000000">
                    <a:lumMod val="65000"/>
                    <a:lumOff val="35000"/>
                  </a:srgbClr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휴먼둥근헤드라인" pitchFamily="18" charset="-127"/>
                <a:ea typeface="휴먼둥근헤드라인" pitchFamily="18" charset="-127"/>
              </a:rPr>
              <a:t>SK Telecom Global</a:t>
            </a:r>
            <a:endParaRPr lang="ko-KR" altLang="en-US" sz="1400" kern="0" dirty="0">
              <a:solidFill>
                <a:srgbClr val="000000">
                  <a:lumMod val="65000"/>
                  <a:lumOff val="35000"/>
                </a:srgbClr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latin typeface="휴먼둥근헤드라인" pitchFamily="18" charset="-127"/>
              <a:ea typeface="휴먼둥근헤드라인" pitchFamily="18" charset="-127"/>
            </a:endParaRPr>
          </a:p>
        </p:txBody>
      </p:sp>
      <p:sp>
        <p:nvSpPr>
          <p:cNvPr id="25" name="TextBox 24"/>
          <p:cNvSpPr txBox="1"/>
          <p:nvPr userDrawn="1"/>
        </p:nvSpPr>
        <p:spPr bwMode="auto">
          <a:xfrm>
            <a:off x="7061625" y="3068993"/>
            <a:ext cx="24177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1400" kern="0" dirty="0">
                <a:solidFill>
                  <a:srgbClr val="000000">
                    <a:lumMod val="65000"/>
                    <a:lumOff val="35000"/>
                  </a:srgbClr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latin typeface="휴먼둥근헤드라인" pitchFamily="18" charset="-127"/>
                <a:ea typeface="휴먼둥근헤드라인" pitchFamily="18" charset="-127"/>
              </a:rPr>
              <a:t>Competitive Leader</a:t>
            </a:r>
            <a:endParaRPr lang="ko-KR" altLang="en-US" sz="1400" kern="0" dirty="0">
              <a:solidFill>
                <a:srgbClr val="000000">
                  <a:lumMod val="65000"/>
                  <a:lumOff val="35000"/>
                </a:srgbClr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latin typeface="휴먼둥근헤드라인" pitchFamily="18" charset="-127"/>
              <a:ea typeface="휴먼둥근헤드라인" pitchFamily="18" charset="-127"/>
            </a:endParaRPr>
          </a:p>
        </p:txBody>
      </p:sp>
      <p:sp>
        <p:nvSpPr>
          <p:cNvPr id="26" name="사각형 설명선 12"/>
          <p:cNvSpPr/>
          <p:nvPr userDrawn="1"/>
        </p:nvSpPr>
        <p:spPr bwMode="auto">
          <a:xfrm>
            <a:off x="8736013" y="819154"/>
            <a:ext cx="377825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사각형 설명선 12"/>
          <p:cNvSpPr/>
          <p:nvPr userDrawn="1"/>
        </p:nvSpPr>
        <p:spPr bwMode="auto">
          <a:xfrm>
            <a:off x="8736013" y="1082711"/>
            <a:ext cx="377825" cy="238125"/>
          </a:xfrm>
          <a:custGeom>
            <a:avLst/>
            <a:gdLst>
              <a:gd name="connsiteX0" fmla="*/ 0 w 366689"/>
              <a:gd name="connsiteY0" fmla="*/ 0 h 165349"/>
              <a:gd name="connsiteX1" fmla="*/ 61115 w 366689"/>
              <a:gd name="connsiteY1" fmla="*/ 0 h 165349"/>
              <a:gd name="connsiteX2" fmla="*/ 61115 w 366689"/>
              <a:gd name="connsiteY2" fmla="*/ 0 h 165349"/>
              <a:gd name="connsiteX3" fmla="*/ 152787 w 366689"/>
              <a:gd name="connsiteY3" fmla="*/ 0 h 165349"/>
              <a:gd name="connsiteX4" fmla="*/ 366689 w 366689"/>
              <a:gd name="connsiteY4" fmla="*/ 0 h 165349"/>
              <a:gd name="connsiteX5" fmla="*/ 366689 w 366689"/>
              <a:gd name="connsiteY5" fmla="*/ 96454 h 165349"/>
              <a:gd name="connsiteX6" fmla="*/ 366689 w 366689"/>
              <a:gd name="connsiteY6" fmla="*/ 96454 h 165349"/>
              <a:gd name="connsiteX7" fmla="*/ 366689 w 366689"/>
              <a:gd name="connsiteY7" fmla="*/ 137791 h 165349"/>
              <a:gd name="connsiteX8" fmla="*/ 366689 w 366689"/>
              <a:gd name="connsiteY8" fmla="*/ 165349 h 165349"/>
              <a:gd name="connsiteX9" fmla="*/ 152787 w 366689"/>
              <a:gd name="connsiteY9" fmla="*/ 165349 h 165349"/>
              <a:gd name="connsiteX10" fmla="*/ 147911 w 366689"/>
              <a:gd name="connsiteY10" fmla="*/ 238509 h 165349"/>
              <a:gd name="connsiteX11" fmla="*/ 61115 w 366689"/>
              <a:gd name="connsiteY11" fmla="*/ 165349 h 165349"/>
              <a:gd name="connsiteX12" fmla="*/ 0 w 366689"/>
              <a:gd name="connsiteY12" fmla="*/ 165349 h 165349"/>
              <a:gd name="connsiteX13" fmla="*/ 0 w 366689"/>
              <a:gd name="connsiteY13" fmla="*/ 137791 h 165349"/>
              <a:gd name="connsiteX14" fmla="*/ 0 w 366689"/>
              <a:gd name="connsiteY14" fmla="*/ 96454 h 165349"/>
              <a:gd name="connsiteX15" fmla="*/ 0 w 366689"/>
              <a:gd name="connsiteY15" fmla="*/ 96454 h 165349"/>
              <a:gd name="connsiteX16" fmla="*/ 0 w 366689"/>
              <a:gd name="connsiteY16" fmla="*/ 0 h 16534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5278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47911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  <a:gd name="connsiteX0" fmla="*/ 0 w 366689"/>
              <a:gd name="connsiteY0" fmla="*/ 0 h 238509"/>
              <a:gd name="connsiteX1" fmla="*/ 61115 w 366689"/>
              <a:gd name="connsiteY1" fmla="*/ 0 h 238509"/>
              <a:gd name="connsiteX2" fmla="*/ 61115 w 366689"/>
              <a:gd name="connsiteY2" fmla="*/ 0 h 238509"/>
              <a:gd name="connsiteX3" fmla="*/ 152787 w 366689"/>
              <a:gd name="connsiteY3" fmla="*/ 0 h 238509"/>
              <a:gd name="connsiteX4" fmla="*/ 366689 w 366689"/>
              <a:gd name="connsiteY4" fmla="*/ 0 h 238509"/>
              <a:gd name="connsiteX5" fmla="*/ 366689 w 366689"/>
              <a:gd name="connsiteY5" fmla="*/ 96454 h 238509"/>
              <a:gd name="connsiteX6" fmla="*/ 366689 w 366689"/>
              <a:gd name="connsiteY6" fmla="*/ 96454 h 238509"/>
              <a:gd name="connsiteX7" fmla="*/ 366689 w 366689"/>
              <a:gd name="connsiteY7" fmla="*/ 137791 h 238509"/>
              <a:gd name="connsiteX8" fmla="*/ 366689 w 366689"/>
              <a:gd name="connsiteY8" fmla="*/ 165349 h 238509"/>
              <a:gd name="connsiteX9" fmla="*/ 133737 w 366689"/>
              <a:gd name="connsiteY9" fmla="*/ 165349 h 238509"/>
              <a:gd name="connsiteX10" fmla="*/ 132036 w 366689"/>
              <a:gd name="connsiteY10" fmla="*/ 238509 h 238509"/>
              <a:gd name="connsiteX11" fmla="*/ 89690 w 366689"/>
              <a:gd name="connsiteY11" fmla="*/ 165349 h 238509"/>
              <a:gd name="connsiteX12" fmla="*/ 0 w 366689"/>
              <a:gd name="connsiteY12" fmla="*/ 165349 h 238509"/>
              <a:gd name="connsiteX13" fmla="*/ 0 w 366689"/>
              <a:gd name="connsiteY13" fmla="*/ 137791 h 238509"/>
              <a:gd name="connsiteX14" fmla="*/ 0 w 366689"/>
              <a:gd name="connsiteY14" fmla="*/ 96454 h 238509"/>
              <a:gd name="connsiteX15" fmla="*/ 0 w 366689"/>
              <a:gd name="connsiteY15" fmla="*/ 96454 h 238509"/>
              <a:gd name="connsiteX16" fmla="*/ 0 w 366689"/>
              <a:gd name="connsiteY16" fmla="*/ 0 h 23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689" h="238509">
                <a:moveTo>
                  <a:pt x="0" y="0"/>
                </a:moveTo>
                <a:lnTo>
                  <a:pt x="61115" y="0"/>
                </a:lnTo>
                <a:lnTo>
                  <a:pt x="61115" y="0"/>
                </a:lnTo>
                <a:lnTo>
                  <a:pt x="152787" y="0"/>
                </a:lnTo>
                <a:lnTo>
                  <a:pt x="366689" y="0"/>
                </a:lnTo>
                <a:lnTo>
                  <a:pt x="366689" y="96454"/>
                </a:lnTo>
                <a:lnTo>
                  <a:pt x="366689" y="96454"/>
                </a:lnTo>
                <a:lnTo>
                  <a:pt x="366689" y="137791"/>
                </a:lnTo>
                <a:lnTo>
                  <a:pt x="366689" y="165349"/>
                </a:lnTo>
                <a:lnTo>
                  <a:pt x="133737" y="165349"/>
                </a:lnTo>
                <a:lnTo>
                  <a:pt x="132036" y="238509"/>
                </a:lnTo>
                <a:lnTo>
                  <a:pt x="89690" y="165349"/>
                </a:lnTo>
                <a:lnTo>
                  <a:pt x="0" y="165349"/>
                </a:lnTo>
                <a:lnTo>
                  <a:pt x="0" y="137791"/>
                </a:lnTo>
                <a:lnTo>
                  <a:pt x="0" y="96454"/>
                </a:lnTo>
                <a:lnTo>
                  <a:pt x="0" y="96454"/>
                </a:lnTo>
                <a:lnTo>
                  <a:pt x="0" y="0"/>
                </a:lnTo>
                <a:close/>
              </a:path>
            </a:pathLst>
          </a:custGeom>
          <a:noFill/>
          <a:ln w="9525" algn="ctr">
            <a:solidFill>
              <a:srgbClr val="FF0000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TextBox 27"/>
          <p:cNvSpPr txBox="1"/>
          <p:nvPr userDrawn="1"/>
        </p:nvSpPr>
        <p:spPr bwMode="auto">
          <a:xfrm>
            <a:off x="9107489" y="819151"/>
            <a:ext cx="5413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800" b="1" i="1" kern="0" dirty="0">
                <a:solidFill>
                  <a:srgbClr val="000000"/>
                </a:solidFill>
                <a:latin typeface="Moebius"/>
                <a:ea typeface="맑은 고딕"/>
              </a:rPr>
              <a:t>2012</a:t>
            </a:r>
            <a:r>
              <a:rPr lang="ko-KR" altLang="en-US" sz="800" b="1" i="1" kern="0" dirty="0">
                <a:solidFill>
                  <a:srgbClr val="000000"/>
                </a:solidFill>
                <a:latin typeface="Moebius"/>
                <a:ea typeface="맑은 고딕"/>
              </a:rPr>
              <a:t>년</a:t>
            </a:r>
          </a:p>
        </p:txBody>
      </p:sp>
      <p:sp>
        <p:nvSpPr>
          <p:cNvPr id="29" name="TextBox 28"/>
          <p:cNvSpPr txBox="1"/>
          <p:nvPr userDrawn="1"/>
        </p:nvSpPr>
        <p:spPr bwMode="auto">
          <a:xfrm>
            <a:off x="9107488" y="1057275"/>
            <a:ext cx="5513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800" b="1" i="1" kern="0" dirty="0">
                <a:solidFill>
                  <a:srgbClr val="000000"/>
                </a:solidFill>
                <a:latin typeface="Moebius"/>
                <a:ea typeface="맑은 고딕"/>
              </a:rPr>
              <a:t>‘Future</a:t>
            </a:r>
            <a:endParaRPr lang="ko-KR" altLang="en-US" sz="800" b="1" i="1" kern="0" dirty="0">
              <a:solidFill>
                <a:srgbClr val="000000"/>
              </a:solidFill>
              <a:latin typeface="Moebius"/>
              <a:ea typeface="맑은 고딕"/>
            </a:endParaRPr>
          </a:p>
        </p:txBody>
      </p:sp>
      <p:sp>
        <p:nvSpPr>
          <p:cNvPr id="30" name="직사각형 29"/>
          <p:cNvSpPr/>
          <p:nvPr userDrawn="1"/>
        </p:nvSpPr>
        <p:spPr bwMode="auto">
          <a:xfrm>
            <a:off x="0" y="7938"/>
            <a:ext cx="10225088" cy="3421062"/>
          </a:xfrm>
          <a:prstGeom prst="rect">
            <a:avLst/>
          </a:prstGeom>
          <a:solidFill>
            <a:schemeClr val="bg1">
              <a:lumMod val="75000"/>
              <a:alpha val="57000"/>
            </a:schemeClr>
          </a:solidFill>
          <a:ln w="2857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228600" indent="-228600" algn="ctr" latinLnBrk="0">
              <a:lnSpc>
                <a:spcPts val="1700"/>
              </a:lnSpc>
              <a:defRPr/>
            </a:pPr>
            <a:endParaRPr lang="ko-KR" altLang="en-US" sz="13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TextBox 30"/>
          <p:cNvSpPr txBox="1"/>
          <p:nvPr userDrawn="1"/>
        </p:nvSpPr>
        <p:spPr bwMode="auto">
          <a:xfrm>
            <a:off x="8643944" y="549276"/>
            <a:ext cx="156892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800" b="1" i="1" kern="0" dirty="0">
                <a:solidFill>
                  <a:srgbClr val="000000"/>
                </a:solidFill>
                <a:latin typeface="Moebius"/>
                <a:ea typeface="맑은 고딕"/>
              </a:rPr>
              <a:t>SK Telecom’s Global status</a:t>
            </a:r>
            <a:endParaRPr lang="ko-KR" altLang="en-US" sz="800" b="1" i="1" kern="0" dirty="0">
              <a:solidFill>
                <a:srgbClr val="000000"/>
              </a:solidFill>
              <a:latin typeface="Moebius"/>
              <a:ea typeface="맑은 고딕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3" descr="SKC&amp;C_colo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7950" y="6015074"/>
            <a:ext cx="9572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681" y="5881688"/>
            <a:ext cx="145732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 userDrawn="1"/>
        </p:nvSpPr>
        <p:spPr bwMode="auto">
          <a:xfrm>
            <a:off x="0" y="6603276"/>
            <a:ext cx="10225088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 eaLnBrk="0" hangingPunct="0">
              <a:spcBef>
                <a:spcPct val="20000"/>
              </a:spcBef>
              <a:buSzPct val="70000"/>
              <a:buFont typeface="Wingdings" pitchFamily="2" charset="2"/>
              <a:buNone/>
              <a:defRPr/>
            </a:pPr>
            <a:r>
              <a:rPr lang="en-US" altLang="ko-KR" sz="1000" kern="0" dirty="0">
                <a:solidFill>
                  <a:srgbClr val="FFFFFF">
                    <a:lumMod val="65000"/>
                  </a:srgbClr>
                </a:solidFill>
                <a:effectLst>
                  <a:innerShdw blurRad="114300">
                    <a:prstClr val="black"/>
                  </a:innerShdw>
                </a:effectLst>
                <a:latin typeface="맑은 고딕"/>
                <a:ea typeface="맑은 고딕"/>
              </a:rPr>
              <a:t>       It’s not “want to be”, we should be there!</a:t>
            </a: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3" descr="SKC&amp;C_colo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7950" y="6262724"/>
            <a:ext cx="9572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681" y="6200775"/>
            <a:ext cx="145732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 cstate="print"/>
          <a:srcRect l="1202" r="2580"/>
          <a:stretch>
            <a:fillRect/>
          </a:stretch>
        </p:blipFill>
        <p:spPr bwMode="auto">
          <a:xfrm>
            <a:off x="0" y="3338516"/>
            <a:ext cx="10225088" cy="162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2586057" y="800100"/>
            <a:ext cx="7602537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ko-KR" altLang="en-US" sz="4800" b="1" dirty="0">
              <a:solidFill>
                <a:srgbClr val="000000"/>
              </a:solidFill>
              <a:latin typeface="Moebius" pitchFamily="18" charset="0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 advTm="2000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8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7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5A5284BD-A830-4B34-AEAF-568AA2680454}" type="datetime1">
              <a:rPr lang="ko-KR" altLang="en-US"/>
              <a:pPr>
                <a:defRPr/>
              </a:pPr>
              <a:t>2018-10-18</a:t>
            </a:fld>
            <a:endParaRPr lang="ko-KR" altLang="en-US" dirty="0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B70E715B-4E1F-4EB6-AE22-8593E39358C0}" type="datetime1">
              <a:rPr lang="ko-KR" altLang="en-US"/>
              <a:pPr>
                <a:defRPr/>
              </a:pPr>
              <a:t>2018-10-18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733EDFF8-E271-428C-8404-6E5FC226B04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638883D0-5251-4971-B836-C6B68F2E31CD}" type="datetime1">
              <a:rPr lang="ko-KR" altLang="en-US"/>
              <a:pPr>
                <a:defRPr/>
              </a:pPr>
              <a:t>2018-10-18</a:t>
            </a:fld>
            <a:endParaRPr lang="ko-KR" altLang="en-US" dirty="0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6CD5B987-8856-40E3-A854-8B45BAEACE3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4FC17B85-C2E4-4E38-9881-F87BF93FC947}" type="datetime1">
              <a:rPr lang="ko-KR" altLang="en-US"/>
              <a:pPr>
                <a:defRPr/>
              </a:pPr>
              <a:t>2018-10-18</a:t>
            </a:fld>
            <a:endParaRPr lang="ko-KR" altLang="en-US" dirty="0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90EDE936-3E15-4A6F-BFFE-41A039DACF01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19F5F-226A-470F-A3F1-ABFF8F6D7AF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4"/>
          <p:cNvSpPr txBox="1">
            <a:spLocks/>
          </p:cNvSpPr>
          <p:nvPr userDrawn="1"/>
        </p:nvSpPr>
        <p:spPr bwMode="auto">
          <a:xfrm>
            <a:off x="9536113" y="6643724"/>
            <a:ext cx="508000" cy="2000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954088" eaLnBrk="0" hangingPunct="0"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defTabSz="954088" eaLnBrk="0" hangingPunct="0"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defTabSz="954088" eaLnBrk="0" hangingPunct="0"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defTabSz="954088" eaLnBrk="0" hangingPunct="0"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defTabSz="954088" eaLnBrk="0" hangingPunct="0"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DBBBF804-4EEA-4A66-9BFD-6F28B330E4ED}" type="slidenum">
              <a:rPr lang="en-US" altLang="ko-KR" sz="13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lang="en-US" altLang="ko-KR" sz="13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93" y="6624674"/>
            <a:ext cx="392113" cy="2254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A2AB93D2-5E16-4BD9-8BFA-9D6BCA678A50}" type="slidenum">
              <a:rPr kumimoji="0" lang="ko-KR" altLang="en-US" sz="1200">
                <a:solidFill>
                  <a:prstClr val="black"/>
                </a:solidFill>
                <a:latin typeface="맑은 고딕"/>
                <a:ea typeface="맑은 고딕"/>
              </a:rPr>
              <a:pPr algn="r">
                <a:defRPr/>
              </a:pPr>
              <a:t>‹#›</a:t>
            </a:fld>
            <a:endParaRPr kumimoji="0" lang="ko-KR" altLang="en-US" sz="12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B0B7F41-493E-4AB8-BF33-8D238480A32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2ABC86CC-0BA7-4C39-A074-7AD3AA761A8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7F6137E7-0BA3-44A2-9FE3-6B972E83B73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97FB8293-71FD-4C9E-BC50-1C9FF1D76DE7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77" y="6624642"/>
            <a:ext cx="39211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72DBAB19-82AE-4F55-B72C-97138529A49F}" type="slidenum">
              <a:rPr kumimoji="0" lang="ko-KR" altLang="en-US" sz="120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92623561"/>
      </p:ext>
    </p:extLst>
  </p:cSld>
  <p:clrMapOvr>
    <a:masterClrMapping/>
  </p:clrMapOvr>
  <p:transition spd="slow" advTm="2000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82" y="4933986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8" y="1928853"/>
            <a:ext cx="8691325" cy="72707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A0B2357-D897-4F8A-9DCE-F41844D8501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85277929"/>
      </p:ext>
    </p:extLst>
  </p:cSld>
  <p:clrMapOvr>
    <a:masterClrMapping/>
  </p:clrMapOvr>
  <p:transition spd="slow" advTm="2000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288354" y="471488"/>
          <a:ext cx="9722242" cy="60246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46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58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74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917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62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484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굴림" pitchFamily="50" charset="-127"/>
                          <a:cs typeface="Times New Roman" pitchFamily="18" charset="0"/>
                        </a:rPr>
                        <a:t>Title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굴림" pitchFamily="50" charset="-127"/>
                          <a:cs typeface="Times New Roman" pitchFamily="18" charset="0"/>
                        </a:rPr>
                        <a:t>Location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굴림" pitchFamily="50" charset="-127"/>
                          <a:cs typeface="Times New Roman" pitchFamily="18" charset="0"/>
                        </a:rPr>
                        <a:t>Description</a:t>
                      </a:r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9798">
                <a:tc gridSpan="4"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solidFill>
                          <a:schemeClr val="tx1"/>
                        </a:solidFill>
                        <a:latin typeface="Times New Roman" pitchFamily="18" charset="0"/>
                        <a:ea typeface="굴림" pitchFamily="50" charset="-127"/>
                        <a:cs typeface="Times New Roman" pitchFamily="18" charset="0"/>
                      </a:endParaRPr>
                    </a:p>
                  </a:txBody>
                  <a:tcPr marL="94370" marR="943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 Box 192"/>
          <p:cNvSpPr txBox="1">
            <a:spLocks noChangeArrowheads="1"/>
          </p:cNvSpPr>
          <p:nvPr userDrawn="1"/>
        </p:nvSpPr>
        <p:spPr bwMode="auto">
          <a:xfrm>
            <a:off x="7402170" y="134939"/>
            <a:ext cx="2609929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457200" indent="-457200" algn="r" latinLnBrk="1">
              <a:defRPr/>
            </a:pPr>
            <a:r>
              <a:rPr kumimoji="1" lang="en-US" altLang="ko-KR" sz="1600" dirty="0">
                <a:solidFill>
                  <a:srgbClr val="0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Story Board</a:t>
            </a:r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0"/>
          </p:nvPr>
        </p:nvSpPr>
        <p:spPr>
          <a:xfrm>
            <a:off x="1062746" y="454567"/>
            <a:ext cx="1555953" cy="2880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  <a:defRPr lang="ko-KR" altLang="en-US" sz="1000" b="1" kern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ko-KR" altLang="en-US" sz="1000" b="1" kern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</a:lstStyle>
          <a:p>
            <a:pPr lvl="0"/>
            <a:endParaRPr lang="ko-KR" altLang="en-US" dirty="0"/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7939557" y="748591"/>
            <a:ext cx="2085650" cy="5759450"/>
          </a:xfrm>
          <a:prstGeom prst="rect">
            <a:avLst/>
          </a:prstGeom>
        </p:spPr>
        <p:txBody>
          <a:bodyPr lIns="72000" rIns="72000"/>
          <a:lstStyle>
            <a:lvl1pPr marL="182563" indent="-182563">
              <a:buClr>
                <a:srgbClr val="FF0000"/>
              </a:buClr>
              <a:buFont typeface="+mj-ea"/>
              <a:buAutoNum type="circleNumDbPlain"/>
              <a:defRPr sz="900" b="1">
                <a:latin typeface="맑은 고딕" pitchFamily="50" charset="-127"/>
                <a:ea typeface="맑은 고딕" pitchFamily="50" charset="-127"/>
              </a:defRPr>
            </a:lvl1pPr>
            <a:lvl2pPr marL="182563" indent="-96838">
              <a:defRPr sz="900">
                <a:latin typeface="맑은 고딕" pitchFamily="50" charset="-127"/>
                <a:ea typeface="맑은 고딕" pitchFamily="50" charset="-127"/>
              </a:defRPr>
            </a:lvl2pPr>
            <a:lvl3pPr marL="268288" indent="-85725">
              <a:defRPr sz="900">
                <a:latin typeface="맑은 고딕" pitchFamily="50" charset="-127"/>
                <a:ea typeface="맑은 고딕" pitchFamily="50" charset="-127"/>
              </a:defRPr>
            </a:lvl3pPr>
            <a:lvl4pPr marL="268288" indent="-85725">
              <a:defRPr sz="1000">
                <a:latin typeface="맑은 고딕" pitchFamily="50" charset="-127"/>
                <a:ea typeface="맑은 고딕" pitchFamily="50" charset="-127"/>
              </a:defRPr>
            </a:lvl4pPr>
            <a:lvl5pPr marL="268288" indent="-85725">
              <a:defRPr sz="10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07572037"/>
      </p:ext>
    </p:extLst>
  </p:cSld>
  <p:clrMapOvr>
    <a:masterClrMapping/>
  </p:clrMapOvr>
  <p:transition spd="slow" advTm="2000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06025-5222-42E6-8047-B375D38C1BB8}" type="datetimeFigureOut">
              <a:rPr lang="ko-KR" altLang="en-US" smtClean="0"/>
              <a:t>2018-10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0C1A4B-06E4-4FA0-A654-D2AFD17BD95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2585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97E6F7-265B-471D-844C-0A0C13320E2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ransition spd="slow" advTm="2000">
    <p:push dir="u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010"/>
          <p:cNvPicPr>
            <a:picLocks noChangeAspect="1" noChangeArrowheads="1"/>
          </p:cNvPicPr>
          <p:nvPr/>
        </p:nvPicPr>
        <p:blipFill>
          <a:blip r:embed="rId2" cstate="print"/>
          <a:srcRect l="35451" t="23425" r="36267" b="56264"/>
          <a:stretch>
            <a:fillRect/>
          </a:stretch>
        </p:blipFill>
        <p:spPr bwMode="auto">
          <a:xfrm>
            <a:off x="7104063" y="4933950"/>
            <a:ext cx="2632075" cy="137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66890" y="1928818"/>
            <a:ext cx="8691325" cy="727071"/>
          </a:xfrm>
          <a:noFill/>
          <a:ln>
            <a:noFill/>
          </a:ln>
        </p:spPr>
        <p:txBody>
          <a:bodyPr/>
          <a:lstStyle>
            <a:lvl1pPr algn="l">
              <a:defRPr sz="3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761935" y="3571876"/>
            <a:ext cx="5161739" cy="338554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1B0B7F41-493E-4AB8-BF33-8D238480A32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19691810"/>
      </p:ext>
    </p:extLst>
  </p:cSld>
  <p:clrMapOvr>
    <a:masterClrMapping/>
  </p:clrMapOvr>
  <p:transition spd="slow" advTm="2000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tabLst>
                <a:tab pos="4660900" algn="ctr"/>
                <a:tab pos="9313863" algn="r"/>
              </a:tabLst>
              <a:defRPr lang="ko-KR" altLang="en-US" sz="1600" b="1" kern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5762" y="571480"/>
            <a:ext cx="9807304" cy="338554"/>
          </a:xfrm>
        </p:spPr>
        <p:txBody>
          <a:bodyPr/>
          <a:lstStyle>
            <a:lvl1pPr marL="0" indent="0" latinLnBrk="0">
              <a:defRPr/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2ABC86CC-0BA7-4C39-A074-7AD3AA761A8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152914"/>
      </p:ext>
    </p:extLst>
  </p:cSld>
  <p:clrMapOvr>
    <a:masterClrMapping/>
  </p:clrMapOvr>
  <p:transition spd="slow" advTm="2000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5762" y="142852"/>
            <a:ext cx="9807304" cy="285752"/>
          </a:xfrm>
        </p:spPr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7F6137E7-0BA3-44A2-9FE3-6B972E83B73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73259486"/>
      </p:ext>
    </p:extLst>
  </p:cSld>
  <p:clrMapOvr>
    <a:masterClrMapping/>
  </p:clrMapOvr>
  <p:transition spd="slow" advTm="2000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97FB8293-71FD-4C9E-BC50-1C9FF1D76DE7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59176752"/>
      </p:ext>
    </p:extLst>
  </p:cSld>
  <p:clrMapOvr>
    <a:masterClrMapping/>
  </p:clrMapOvr>
  <p:transition spd="slow" advTm="2000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23"/>
          <p:cNvSpPr txBox="1">
            <a:spLocks/>
          </p:cNvSpPr>
          <p:nvPr userDrawn="1"/>
        </p:nvSpPr>
        <p:spPr bwMode="auto">
          <a:xfrm>
            <a:off x="9845675" y="6624638"/>
            <a:ext cx="392113" cy="2254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0BC4D22F-D38A-482B-9E5C-81CE784AD94A}" type="slidenum">
              <a:rPr kumimoji="0" lang="ko-KR" altLang="en-US" sz="1200">
                <a:solidFill>
                  <a:prstClr val="black"/>
                </a:solidFill>
                <a:latin typeface="맑은 고딕"/>
                <a:ea typeface="맑은 고딕"/>
              </a:rPr>
              <a:pPr algn="r">
                <a:defRPr/>
              </a:pPr>
              <a:t>‹#›</a:t>
            </a:fld>
            <a:endParaRPr kumimoji="0" lang="ko-KR" altLang="en-US" sz="12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468373847"/>
      </p:ext>
    </p:extLst>
  </p:cSld>
  <p:clrMapOvr>
    <a:masterClrMapping/>
  </p:clrMapOvr>
  <p:transition spd="slow" advTm="2000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6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6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3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74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2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85.xml"/></Relationships>
</file>

<file path=ppt/slideMasters/_rels/slideMaster16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89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BC62E7BD-8834-4777-AD99-C3E8824B1A4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62" r:id="rId1"/>
    <p:sldLayoutId id="2147494163" r:id="rId2"/>
    <p:sldLayoutId id="2147494164" r:id="rId3"/>
    <p:sldLayoutId id="2147494165" r:id="rId4"/>
    <p:sldLayoutId id="2147494180" r:id="rId5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43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287D4134-C633-4209-A24C-74CC33DDA2A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19" r:id="rId1"/>
    <p:sldLayoutId id="2147494220" r:id="rId2"/>
    <p:sldLayoutId id="2147494221" r:id="rId3"/>
    <p:sldLayoutId id="2147494222" r:id="rId4"/>
    <p:sldLayoutId id="2147494223" r:id="rId5"/>
    <p:sldLayoutId id="2147494224" r:id="rId6"/>
    <p:sldLayoutId id="2147494225" r:id="rId7"/>
    <p:sldLayoutId id="2147494226" r:id="rId8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126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B1C20F2E-0CBC-4857-AA8E-3A88DEF49C9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27" r:id="rId1"/>
    <p:sldLayoutId id="2147494228" r:id="rId2"/>
    <p:sldLayoutId id="2147494229" r:id="rId3"/>
    <p:sldLayoutId id="2147494230" r:id="rId4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2291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624B49C7-F220-4F8F-8265-AA544BE6107F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31" r:id="rId1"/>
    <p:sldLayoutId id="2147494232" r:id="rId2"/>
    <p:sldLayoutId id="2147494233" r:id="rId3"/>
    <p:sldLayoutId id="2147494234" r:id="rId4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4214" name="Rectangle 6"/>
          <p:cNvSpPr>
            <a:spLocks noChangeArrowheads="1"/>
          </p:cNvSpPr>
          <p:nvPr/>
        </p:nvSpPr>
        <p:spPr bwMode="ltGray">
          <a:xfrm>
            <a:off x="4967288" y="6524625"/>
            <a:ext cx="293687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4072" tIns="54072" rIns="54072" bIns="54072" anchor="ctr"/>
          <a:lstStyle/>
          <a:p>
            <a:pPr algn="ctr" defTabSz="915988" eaLnBrk="0" latinLnBrk="0" hangingPunct="0">
              <a:defRPr/>
            </a:pPr>
            <a:endParaRPr kumimoji="0" lang="en-GB" altLang="ko-KR" sz="1200" b="1" dirty="0">
              <a:solidFill>
                <a:srgbClr val="3333CC"/>
              </a:solidFill>
              <a:latin typeface="Optima" pitchFamily="34" charset="0"/>
              <a:ea typeface="가는각진제목체" pitchFamily="18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43475" y="6648450"/>
            <a:ext cx="560388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fld id="{1468746C-0E60-4778-96E6-7DD7BD09FC69}" type="slidenum">
              <a:rPr lang="ko-KR" altLang="en-US" sz="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>
                <a:defRPr/>
              </a:pPr>
              <a:t>‹#›</a:t>
            </a:fld>
            <a:endParaRPr lang="en-US" altLang="ko-KR" sz="9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6" name="AcnStamp_ID_1166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718180" y="1387475"/>
            <a:ext cx="1468438" cy="266700"/>
          </a:xfrm>
          <a:prstGeom prst="leftRightArrow">
            <a:avLst>
              <a:gd name="adj1" fmla="val 100000"/>
              <a:gd name="adj2" fmla="val 0"/>
            </a:avLst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25400" rIns="0" bIns="25400">
            <a:spAutoFit/>
          </a:bodyPr>
          <a:lstStyle/>
          <a:p>
            <a:pPr algn="r">
              <a:defRPr/>
            </a:pPr>
            <a:r>
              <a:rPr lang="en-US" altLang="ko-KR" sz="1400" b="1" dirty="0">
                <a:solidFill>
                  <a:srgbClr val="000000"/>
                </a:solidFill>
                <a:latin typeface="Arial" pitchFamily="34" charset="0"/>
                <a:ea typeface="맑은 고딕" pitchFamily="50" charset="-127"/>
              </a:rPr>
              <a:t>MASTER STAMP</a:t>
            </a:r>
          </a:p>
        </p:txBody>
      </p:sp>
      <p:cxnSp>
        <p:nvCxnSpPr>
          <p:cNvPr id="13317" name="AcnStpConnector_ID_1167" hidden="1"/>
          <p:cNvCxnSpPr>
            <a:cxnSpLocks noChangeShapeType="1"/>
            <a:stCxn id="1166" idx="2"/>
            <a:endCxn id="1166" idx="0"/>
          </p:cNvCxnSpPr>
          <p:nvPr>
            <p:custDataLst>
              <p:tags r:id="rId9"/>
            </p:custDataLst>
          </p:nvPr>
        </p:nvCxnSpPr>
        <p:spPr bwMode="gray">
          <a:xfrm>
            <a:off x="5718180" y="1387475"/>
            <a:ext cx="1468438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3318" name="AcnStpConnector_ID_1168" hidden="1"/>
          <p:cNvCxnSpPr>
            <a:cxnSpLocks noChangeShapeType="1"/>
            <a:stCxn id="1166" idx="4"/>
            <a:endCxn id="1166" idx="6"/>
          </p:cNvCxnSpPr>
          <p:nvPr>
            <p:custDataLst>
              <p:tags r:id="rId10"/>
            </p:custDataLst>
          </p:nvPr>
        </p:nvCxnSpPr>
        <p:spPr bwMode="gray">
          <a:xfrm>
            <a:off x="5718180" y="1654175"/>
            <a:ext cx="1468438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pic>
        <p:nvPicPr>
          <p:cNvPr id="13319" name="Picture 14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56758" y="6486561"/>
            <a:ext cx="665163" cy="3524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7" name="타원 16"/>
          <p:cNvSpPr/>
          <p:nvPr/>
        </p:nvSpPr>
        <p:spPr bwMode="auto">
          <a:xfrm rot="20514375">
            <a:off x="264" y="261671"/>
            <a:ext cx="1378419" cy="692144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>
                  <a:alpha val="83000"/>
                </a:schemeClr>
              </a:gs>
              <a:gs pos="100000">
                <a:schemeClr val="bg1">
                  <a:alpha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chemeClr val="bg1">
                <a:alpha val="40000"/>
              </a:schemeClr>
            </a:glow>
          </a:effectLst>
        </p:spPr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ko-KR" altLang="en-US" sz="1000" dirty="0">
              <a:solidFill>
                <a:srgbClr val="000000"/>
              </a:solidFill>
            </a:endParaRPr>
          </a:p>
        </p:txBody>
      </p:sp>
      <p:sp>
        <p:nvSpPr>
          <p:cNvPr id="18" name="타원 17"/>
          <p:cNvSpPr/>
          <p:nvPr/>
        </p:nvSpPr>
        <p:spPr bwMode="auto">
          <a:xfrm rot="20514375">
            <a:off x="264" y="261671"/>
            <a:ext cx="1378419" cy="692144"/>
          </a:xfrm>
          <a:prstGeom prst="ellipse">
            <a:avLst/>
          </a:prstGeom>
          <a:gradFill flip="none" rotWithShape="1">
            <a:gsLst>
              <a:gs pos="0">
                <a:sysClr val="window" lastClr="FFFFFF"/>
              </a:gs>
              <a:gs pos="50000">
                <a:sysClr val="window" lastClr="FFFFFF">
                  <a:alpha val="83000"/>
                </a:sysClr>
              </a:gs>
              <a:gs pos="100000">
                <a:sysClr val="window" lastClr="FFFFFF">
                  <a:alpha val="50000"/>
                </a:sys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ysClr val="window" lastClr="FFFFFF">
                <a:alpha val="40000"/>
              </a:sysClr>
            </a:glow>
          </a:effectLst>
        </p:spPr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12700" y="563563"/>
            <a:ext cx="10212388" cy="80962"/>
          </a:xfrm>
          <a:prstGeom prst="rect">
            <a:avLst/>
          </a:prstGeom>
          <a:solidFill>
            <a:srgbClr val="FF0000">
              <a:alpha val="64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12700" y="647736"/>
            <a:ext cx="10212388" cy="80963"/>
          </a:xfrm>
          <a:prstGeom prst="rect">
            <a:avLst/>
          </a:prstGeom>
          <a:solidFill>
            <a:srgbClr val="F79646">
              <a:lumMod val="75000"/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sp>
        <p:nvSpPr>
          <p:cNvPr id="21" name="타원 20"/>
          <p:cNvSpPr/>
          <p:nvPr/>
        </p:nvSpPr>
        <p:spPr bwMode="auto">
          <a:xfrm rot="20514375">
            <a:off x="264" y="261671"/>
            <a:ext cx="1378419" cy="692144"/>
          </a:xfrm>
          <a:prstGeom prst="ellipse">
            <a:avLst/>
          </a:prstGeom>
          <a:gradFill flip="none" rotWithShape="1">
            <a:gsLst>
              <a:gs pos="0">
                <a:sysClr val="window" lastClr="FFFFFF"/>
              </a:gs>
              <a:gs pos="50000">
                <a:sysClr val="window" lastClr="FFFFFF">
                  <a:alpha val="83000"/>
                </a:sysClr>
              </a:gs>
              <a:gs pos="100000">
                <a:sysClr val="window" lastClr="FFFFFF">
                  <a:alpha val="50000"/>
                </a:sys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ysClr val="window" lastClr="FFFFFF">
                <a:alpha val="40000"/>
              </a:sysClr>
            </a:glow>
          </a:effectLst>
        </p:spPr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latinLnBrk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ko-KR" altLang="en-US" sz="1000" dirty="0">
              <a:solidFill>
                <a:sysClr val="windowText" lastClr="000000"/>
              </a:solidFill>
            </a:endParaRPr>
          </a:p>
        </p:txBody>
      </p:sp>
      <p:pic>
        <p:nvPicPr>
          <p:cNvPr id="13331" name="Picture 10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300040" y="498475"/>
            <a:ext cx="777875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4235" r:id="rId1"/>
    <p:sldLayoutId id="2147494178" r:id="rId2"/>
    <p:sldLayoutId id="2147494236" r:id="rId3"/>
    <p:sldLayoutId id="2147494237" r:id="rId4"/>
    <p:sldLayoutId id="2147494238" r:id="rId5"/>
    <p:sldLayoutId id="2147494179" r:id="rId6"/>
  </p:sldLayoutIdLst>
  <p:transition spd="slow" advTm="2000">
    <p:push dir="u"/>
  </p:transition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0000"/>
          </a:solidFill>
          <a:latin typeface="+mn-ea"/>
          <a:ea typeface="+mn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SzPct val="70000"/>
        <a:buFont typeface="Wingdings" pitchFamily="2" charset="2"/>
        <a:defRPr kumimoji="1" sz="1600" b="1">
          <a:solidFill>
            <a:schemeClr val="tx1"/>
          </a:solidFill>
          <a:latin typeface="맑은 고딕" pitchFamily="50" charset="-127"/>
          <a:ea typeface="+mn-ea"/>
          <a:cs typeface="+mn-cs"/>
        </a:defRPr>
      </a:lvl1pPr>
      <a:lvl2pPr marL="442913" indent="-84138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200">
          <a:solidFill>
            <a:schemeClr val="tx1"/>
          </a:solidFill>
          <a:latin typeface="+mn-lt"/>
          <a:ea typeface="+mn-ea"/>
        </a:defRPr>
      </a:lvl2pPr>
      <a:lvl3pPr marL="811213" indent="-9525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+mn-ea"/>
        </a:defRPr>
      </a:lvl3pPr>
      <a:lvl4pPr marL="1254125" indent="-179388" algn="l" rtl="0" eaLnBrk="0" fontAlgn="base" latinLnBrk="1" hangingPunct="0">
        <a:spcBef>
          <a:spcPct val="20000"/>
        </a:spcBef>
        <a:spcAft>
          <a:spcPct val="0"/>
        </a:spcAft>
        <a:buFont typeface="Optima"/>
        <a:buChar char=""/>
        <a:defRPr kumimoji="1" sz="12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4339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72C6317D-60F1-4C10-B9EE-1BD8DA063541}" type="datetime1">
              <a:rPr lang="ko-KR" altLang="en-US"/>
              <a:pPr>
                <a:defRPr/>
              </a:pPr>
              <a:t>2018-10-18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5FE966A9-B591-4CAC-B047-5E4AD3E8805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39" r:id="rId1"/>
    <p:sldLayoutId id="2147494240" r:id="rId2"/>
    <p:sldLayoutId id="2147494241" r:id="rId3"/>
    <p:sldLayoutId id="2147494242" r:id="rId4"/>
    <p:sldLayoutId id="2147494244" r:id="rId5"/>
    <p:sldLayoutId id="2147494245" r:id="rId6"/>
  </p:sldLayoutIdLst>
  <p:transition spd="slow" advTm="2000">
    <p:push dir="u"/>
  </p:transition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5363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2ACE5B62-E844-48CC-9449-0AA0349103A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46" r:id="rId1"/>
    <p:sldLayoutId id="2147494247" r:id="rId2"/>
    <p:sldLayoutId id="2147494248" r:id="rId3"/>
    <p:sldLayoutId id="2147494249" r:id="rId4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슬라이드 번호 개체 틀 23"/>
          <p:cNvSpPr txBox="1">
            <a:spLocks/>
          </p:cNvSpPr>
          <p:nvPr/>
        </p:nvSpPr>
        <p:spPr bwMode="auto">
          <a:xfrm>
            <a:off x="9844924" y="6624671"/>
            <a:ext cx="39327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39E7C875-0CF3-4018-B574-E8F5F83A2161}" type="slidenum">
              <a:rPr kumimoji="0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02377237"/>
      </p:ext>
    </p:extLst>
  </p:cSld>
  <p:clrMap bg1="lt1" tx1="dk1" bg2="lt2" tx2="dk2" accent1="accent1" accent2="accent2" accent3="accent3" accent4="accent4" accent5="accent5" accent6="accent6" hlink="hlink" folHlink="folHlink"/>
  <p:transition spd="slow" advTm="2000">
    <p:push dir="u"/>
  </p:transition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슬라이드 번호 개체 틀 23"/>
          <p:cNvSpPr txBox="1">
            <a:spLocks/>
          </p:cNvSpPr>
          <p:nvPr/>
        </p:nvSpPr>
        <p:spPr bwMode="auto">
          <a:xfrm>
            <a:off x="9844924" y="6624641"/>
            <a:ext cx="393273" cy="2254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eaLnBrk="1" hangingPunct="1">
              <a:defRPr/>
            </a:pPr>
            <a:fld id="{39E7C875-0CF3-4018-B574-E8F5F83A2161}" type="slidenum">
              <a:rPr kumimoji="0" lang="ko-KR" altLang="en-US" sz="12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pPr algn="r" eaLnBrk="1" hangingPunct="1">
                <a:defRPr/>
              </a:pPr>
              <a:t>‹#›</a:t>
            </a:fld>
            <a:endParaRPr kumimoji="0" lang="ko-KR" altLang="en-US" sz="12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0329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56" r:id="rId1"/>
    <p:sldLayoutId id="2147494271" r:id="rId2"/>
    <p:sldLayoutId id="2147494272" r:id="rId3"/>
    <p:sldLayoutId id="2147494273" r:id="rId4"/>
  </p:sldLayoutIdLst>
  <p:transition spd="slow" advTm="2000">
    <p:push dir="u"/>
  </p:transition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제목 개체 틀 1"/>
          <p:cNvSpPr>
            <a:spLocks noGrp="1"/>
          </p:cNvSpPr>
          <p:nvPr>
            <p:ph type="title"/>
          </p:nvPr>
        </p:nvSpPr>
        <p:spPr bwMode="auto">
          <a:xfrm>
            <a:off x="24606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5363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6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75" y="6356350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50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875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2ACE5B62-E844-48CC-9449-0AA0349103A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7491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65" r:id="rId1"/>
    <p:sldLayoutId id="2147494266" r:id="rId2"/>
    <p:sldLayoutId id="2147494267" r:id="rId3"/>
    <p:sldLayoutId id="2147494268" r:id="rId4"/>
    <p:sldLayoutId id="2147494270" r:id="rId5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2051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C9ED423-1E5F-4312-83D5-8840D69EA1E2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66" r:id="rId1"/>
    <p:sldLayoutId id="2147494167" r:id="rId2"/>
    <p:sldLayoutId id="2147494168" r:id="rId3"/>
    <p:sldLayoutId id="2147494169" r:id="rId4"/>
    <p:sldLayoutId id="2147494181" r:id="rId5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307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5650ACE-22EE-47DD-8E00-E53A7E208F1F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70" r:id="rId1"/>
    <p:sldLayoutId id="2147494171" r:id="rId2"/>
    <p:sldLayoutId id="2147494172" r:id="rId3"/>
    <p:sldLayoutId id="2147494173" r:id="rId4"/>
    <p:sldLayoutId id="2147494182" r:id="rId5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4099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BB9CDD61-4892-436E-A173-477CF9D1F02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74" r:id="rId1"/>
    <p:sldLayoutId id="2147494175" r:id="rId2"/>
    <p:sldLayoutId id="2147494176" r:id="rId3"/>
    <p:sldLayoutId id="2147494177" r:id="rId4"/>
    <p:sldLayoutId id="2147494183" r:id="rId5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5123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647F8D99-54BA-4C94-B06C-EF01BC42E792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84" r:id="rId1"/>
    <p:sldLayoutId id="2147494185" r:id="rId2"/>
    <p:sldLayoutId id="2147494186" r:id="rId3"/>
    <p:sldLayoutId id="2147494187" r:id="rId4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614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712E30A3-A2C4-440A-92CF-1BD7B04801C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90" r:id="rId1"/>
    <p:sldLayoutId id="2147494191" r:id="rId2"/>
    <p:sldLayoutId id="2147494192" r:id="rId3"/>
    <p:sldLayoutId id="2147494193" r:id="rId4"/>
    <p:sldLayoutId id="2147494194" r:id="rId5"/>
    <p:sldLayoutId id="2147494195" r:id="rId6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7171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7C67716A-241A-4678-AF2F-C0512236147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196" r:id="rId1"/>
    <p:sldLayoutId id="2147494197" r:id="rId2"/>
    <p:sldLayoutId id="2147494198" r:id="rId3"/>
    <p:sldLayoutId id="2147494199" r:id="rId4"/>
    <p:sldLayoutId id="2147494200" r:id="rId5"/>
    <p:sldLayoutId id="2147494201" r:id="rId6"/>
    <p:sldLayoutId id="2147494202" r:id="rId7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819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27AEF51C-C93F-44E5-B0F1-05AC045CACB6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03" r:id="rId1"/>
    <p:sldLayoutId id="2147494204" r:id="rId2"/>
    <p:sldLayoutId id="2147494205" r:id="rId3"/>
    <p:sldLayoutId id="2147494206" r:id="rId4"/>
    <p:sldLayoutId id="2147494207" r:id="rId5"/>
    <p:sldLayoutId id="2147494208" r:id="rId6"/>
    <p:sldLayoutId id="2147494209" r:id="rId7"/>
    <p:sldLayoutId id="2147494210" r:id="rId8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제목 개체 틀 1"/>
          <p:cNvSpPr>
            <a:spLocks noGrp="1"/>
          </p:cNvSpPr>
          <p:nvPr>
            <p:ph type="title"/>
          </p:nvPr>
        </p:nvSpPr>
        <p:spPr bwMode="auto">
          <a:xfrm>
            <a:off x="246073" y="142875"/>
            <a:ext cx="9807575" cy="285750"/>
          </a:xfrm>
          <a:prstGeom prst="rect">
            <a:avLst/>
          </a:prstGeom>
          <a:solidFill>
            <a:srgbClr val="C8E4D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9219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246073" y="571500"/>
            <a:ext cx="98075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1180" y="6356386"/>
            <a:ext cx="2386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494088" y="6356386"/>
            <a:ext cx="32369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1" sz="1200" b="1">
                <a:solidFill>
                  <a:prstClr val="black">
                    <a:tint val="75000"/>
                  </a:prstClr>
                </a:solidFill>
                <a:latin typeface="Arial" charset="0"/>
                <a:ea typeface="굴림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831388" y="6492911"/>
            <a:ext cx="393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1" sz="1200" b="1">
                <a:solidFill>
                  <a:prstClr val="black"/>
                </a:solidFill>
                <a:latin typeface="+mn-lt"/>
                <a:ea typeface="굴림" charset="-127"/>
                <a:cs typeface="+mn-cs"/>
              </a:defRPr>
            </a:lvl1pPr>
          </a:lstStyle>
          <a:p>
            <a:pPr>
              <a:defRPr/>
            </a:pPr>
            <a:fld id="{E40E3886-4B3B-4EE1-B723-1DCADD589D92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211" r:id="rId1"/>
    <p:sldLayoutId id="2147494212" r:id="rId2"/>
    <p:sldLayoutId id="2147494213" r:id="rId3"/>
    <p:sldLayoutId id="2147494214" r:id="rId4"/>
    <p:sldLayoutId id="2147494215" r:id="rId5"/>
    <p:sldLayoutId id="2147494216" r:id="rId6"/>
    <p:sldLayoutId id="2147494217" r:id="rId7"/>
    <p:sldLayoutId id="2147494218" r:id="rId8"/>
  </p:sldLayoutIdLst>
  <p:transition spd="slow" advTm="2000">
    <p:push dir="u"/>
  </p:transition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lang="ko-KR" altLang="en-US" sz="1500" b="1" dirty="0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tabLst>
          <a:tab pos="4127500" algn="l"/>
          <a:tab pos="9313863" algn="r"/>
        </a:tabLst>
        <a:defRPr kumimoji="1" sz="15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tclbps.uze.kr:3500/coupon" TargetMode="External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 txBox="1">
            <a:spLocks noChangeArrowheads="1"/>
          </p:cNvSpPr>
          <p:nvPr/>
        </p:nvSpPr>
        <p:spPr bwMode="auto">
          <a:xfrm>
            <a:off x="771525" y="1855788"/>
            <a:ext cx="8701088" cy="135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kumimoji="0" lang="en-US" altLang="ko-KR" sz="4000" b="1" dirty="0" smtClean="0">
                <a:latin typeface="Tahoma" panose="020B0604030504040204" pitchFamily="34" charset="0"/>
                <a:ea typeface="맑은 고딕" panose="020B0503020000020004" pitchFamily="50" charset="-127"/>
              </a:rPr>
              <a:t>[SOT] </a:t>
            </a:r>
            <a:r>
              <a:rPr kumimoji="0" lang="ko-KR" altLang="en-US" sz="4000" b="1" dirty="0" err="1" smtClean="0">
                <a:latin typeface="Tahoma" panose="020B0604030504040204" pitchFamily="34" charset="0"/>
                <a:ea typeface="맑은 고딕" panose="020B0503020000020004" pitchFamily="50" charset="-127"/>
              </a:rPr>
              <a:t>블록체인</a:t>
            </a:r>
            <a:r>
              <a:rPr kumimoji="0" lang="ko-KR" altLang="en-US" sz="4000" b="1" dirty="0" smtClean="0">
                <a:latin typeface="Tahoma" panose="020B0604030504040204" pitchFamily="34" charset="0"/>
                <a:ea typeface="맑은 고딕" panose="020B0503020000020004" pitchFamily="50" charset="-127"/>
              </a:rPr>
              <a:t> 파워스테이션</a:t>
            </a:r>
            <a:endParaRPr kumimoji="0" lang="en-US" altLang="ko-KR" sz="4000" b="1" dirty="0" smtClean="0">
              <a:latin typeface="Tahoma" panose="020B0604030504040204" pitchFamily="34" charset="0"/>
              <a:ea typeface="맑은 고딕" panose="020B0503020000020004" pitchFamily="50" charset="-127"/>
            </a:endParaRPr>
          </a:p>
          <a:p>
            <a:pPr algn="ctr"/>
            <a:r>
              <a:rPr kumimoji="0" lang="en-US" altLang="ko-KR" sz="4000" b="1" dirty="0" smtClean="0">
                <a:latin typeface="Tahoma" panose="020B0604030504040204" pitchFamily="34" charset="0"/>
                <a:ea typeface="맑은 고딕" panose="020B0503020000020004" pitchFamily="50" charset="-127"/>
              </a:rPr>
              <a:t>B-</a:t>
            </a:r>
            <a:r>
              <a:rPr kumimoji="0" lang="ko-KR" altLang="en-US" sz="4000" b="1" dirty="0" smtClean="0">
                <a:latin typeface="Tahoma" panose="020B0604030504040204" pitchFamily="34" charset="0"/>
                <a:ea typeface="맑은 고딕" panose="020B0503020000020004" pitchFamily="50" charset="-127"/>
              </a:rPr>
              <a:t>쿠폰</a:t>
            </a:r>
            <a:endParaRPr kumimoji="0" lang="en-US" altLang="ko-KR" sz="4000" b="1" dirty="0" smtClean="0">
              <a:latin typeface="Tahoma" panose="020B060403050404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69188652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직사각형 1023"/>
          <p:cNvSpPr/>
          <p:nvPr/>
        </p:nvSpPr>
        <p:spPr bwMode="auto">
          <a:xfrm>
            <a:off x="2066519" y="2924054"/>
            <a:ext cx="1217000" cy="31541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>
              <a:lnSpc>
                <a:spcPct val="150000"/>
              </a:lnSpc>
            </a:pPr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1168399" y="468312"/>
            <a:ext cx="2055098" cy="288000"/>
          </a:xfrm>
        </p:spPr>
        <p:txBody>
          <a:bodyPr anchor="ctr">
            <a:normAutofit/>
          </a:bodyPr>
          <a:lstStyle/>
          <a:p>
            <a:r>
              <a:rPr lang="en-US" altLang="ko-KR" sz="900" dirty="0"/>
              <a:t>SKT </a:t>
            </a:r>
            <a:r>
              <a:rPr lang="ko-KR" altLang="en-US" sz="900" dirty="0"/>
              <a:t>쿠폰 발급 화면</a:t>
            </a:r>
          </a:p>
        </p:txBody>
      </p:sp>
      <p:sp>
        <p:nvSpPr>
          <p:cNvPr id="59" name="텍스트 개체 틀 3"/>
          <p:cNvSpPr>
            <a:spLocks noGrp="1"/>
          </p:cNvSpPr>
          <p:nvPr>
            <p:ph type="body" sz="quarter" idx="12"/>
          </p:nvPr>
        </p:nvSpPr>
        <p:spPr>
          <a:xfrm>
            <a:off x="7851775" y="748592"/>
            <a:ext cx="2020888" cy="5738919"/>
          </a:xfrm>
        </p:spPr>
        <p:txBody>
          <a:bodyPr/>
          <a:lstStyle/>
          <a:p>
            <a:pPr marL="0" lvl="1" indent="0">
              <a:buNone/>
            </a:pPr>
            <a:endParaRPr lang="en-US" altLang="ko-KR" sz="800" dirty="0"/>
          </a:p>
          <a:p>
            <a:pPr marL="108000" lvl="1" indent="-108000">
              <a:buFontTx/>
              <a:buAutoNum type="arabicPeriod"/>
            </a:pPr>
            <a:endParaRPr lang="en-US" altLang="ko-KR" sz="800" dirty="0"/>
          </a:p>
        </p:txBody>
      </p:sp>
      <p:sp>
        <p:nvSpPr>
          <p:cNvPr id="5" name="TextBox 4"/>
          <p:cNvSpPr txBox="1"/>
          <p:nvPr/>
        </p:nvSpPr>
        <p:spPr>
          <a:xfrm>
            <a:off x="2003489" y="2597655"/>
            <a:ext cx="33281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휴 쿠폰을 발급하고 옵션을 설정하는 화면 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46423" y="2914006"/>
            <a:ext cx="1217000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쿠폰명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미지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유형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수량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효 기간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운로드 기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시 여부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설정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05727" y="2597804"/>
            <a:ext cx="1368323" cy="2215991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쿠폰 발급 관리</a:t>
            </a:r>
            <a:endParaRPr lang="en-US" altLang="ko-KR" sz="1200" u="sng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력 관리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SKT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조회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</a:p>
        </p:txBody>
      </p:sp>
      <p:graphicFrame>
        <p:nvGraphicFramePr>
          <p:cNvPr id="21" name="표 20"/>
          <p:cNvGraphicFramePr>
            <a:graphicFrameLocks noGrp="1"/>
          </p:cNvGraphicFramePr>
          <p:nvPr>
            <p:extLst/>
          </p:nvPr>
        </p:nvGraphicFramePr>
        <p:xfrm>
          <a:off x="600878" y="842638"/>
          <a:ext cx="7154426" cy="1579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96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577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3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Nod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Block Cha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SK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24" name="직선 연결선 23"/>
          <p:cNvCxnSpPr/>
          <p:nvPr/>
        </p:nvCxnSpPr>
        <p:spPr bwMode="auto">
          <a:xfrm>
            <a:off x="438851" y="2517419"/>
            <a:ext cx="741600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직선 연결선 44"/>
          <p:cNvCxnSpPr/>
          <p:nvPr/>
        </p:nvCxnSpPr>
        <p:spPr bwMode="auto">
          <a:xfrm flipV="1">
            <a:off x="1994178" y="2517419"/>
            <a:ext cx="0" cy="3973816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타원 40"/>
          <p:cNvSpPr/>
          <p:nvPr/>
        </p:nvSpPr>
        <p:spPr bwMode="auto">
          <a:xfrm>
            <a:off x="2158375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타원 50"/>
          <p:cNvSpPr/>
          <p:nvPr/>
        </p:nvSpPr>
        <p:spPr bwMode="auto">
          <a:xfrm>
            <a:off x="2598510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타원 51"/>
          <p:cNvSpPr/>
          <p:nvPr/>
        </p:nvSpPr>
        <p:spPr bwMode="auto">
          <a:xfrm>
            <a:off x="3012948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타원 52"/>
          <p:cNvSpPr/>
          <p:nvPr/>
        </p:nvSpPr>
        <p:spPr bwMode="auto">
          <a:xfrm>
            <a:off x="3453083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타원 53"/>
          <p:cNvSpPr/>
          <p:nvPr/>
        </p:nvSpPr>
        <p:spPr bwMode="auto">
          <a:xfrm>
            <a:off x="2158375" y="144696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타원 54"/>
          <p:cNvSpPr/>
          <p:nvPr/>
        </p:nvSpPr>
        <p:spPr bwMode="auto">
          <a:xfrm>
            <a:off x="2158375" y="178715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타원 55"/>
          <p:cNvSpPr/>
          <p:nvPr/>
        </p:nvSpPr>
        <p:spPr bwMode="auto">
          <a:xfrm>
            <a:off x="2170103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타원 56"/>
          <p:cNvSpPr/>
          <p:nvPr/>
        </p:nvSpPr>
        <p:spPr bwMode="auto">
          <a:xfrm>
            <a:off x="2598510" y="179068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2598510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타원 60"/>
          <p:cNvSpPr/>
          <p:nvPr/>
        </p:nvSpPr>
        <p:spPr bwMode="auto">
          <a:xfrm>
            <a:off x="3012948" y="1446964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타원 61"/>
          <p:cNvSpPr/>
          <p:nvPr/>
        </p:nvSpPr>
        <p:spPr bwMode="auto">
          <a:xfrm>
            <a:off x="3012948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타원 62"/>
          <p:cNvSpPr/>
          <p:nvPr/>
        </p:nvSpPr>
        <p:spPr bwMode="auto">
          <a:xfrm>
            <a:off x="3453083" y="1782133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3384270" y="3068960"/>
            <a:ext cx="3376247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384270" y="3871598"/>
            <a:ext cx="1688123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4770942" y="3871598"/>
            <a:ext cx="30145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▼</a:t>
            </a:r>
          </a:p>
        </p:txBody>
      </p:sp>
      <p:sp>
        <p:nvSpPr>
          <p:cNvPr id="1025" name="TextBox 1024"/>
          <p:cNvSpPr txBox="1"/>
          <p:nvPr/>
        </p:nvSpPr>
        <p:spPr>
          <a:xfrm>
            <a:off x="7888429" y="753636"/>
            <a:ext cx="1966980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 Node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Block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블록 생성 상태를 시각적으로   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현하기 위한 제휴사별 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생성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lock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생성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현황판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쿠폰명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입력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력 제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0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미지 등록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유형 선택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콤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박스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벤트 쿠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/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미션 쿠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/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기프티콘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발급 수량 입력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6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사용 가능 기간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자 선택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달력창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오픈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다운로드 가능 기간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9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오픈여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콤보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박스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분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Y / N</a:t>
            </a: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)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선택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체크박스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3384270" y="4656576"/>
            <a:ext cx="1165605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4691102" y="4656576"/>
            <a:ext cx="38129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달력</a:t>
            </a:r>
          </a:p>
        </p:txBody>
      </p:sp>
      <p:sp>
        <p:nvSpPr>
          <p:cNvPr id="1026" name="TextBox 1025"/>
          <p:cNvSpPr txBox="1"/>
          <p:nvPr/>
        </p:nvSpPr>
        <p:spPr>
          <a:xfrm>
            <a:off x="5192977" y="4601716"/>
            <a:ext cx="783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~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5383897" y="4656576"/>
            <a:ext cx="1165605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6690729" y="4656576"/>
            <a:ext cx="38129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달력</a:t>
            </a:r>
          </a:p>
        </p:txBody>
      </p:sp>
      <p:sp>
        <p:nvSpPr>
          <p:cNvPr id="79" name="직사각형 78"/>
          <p:cNvSpPr/>
          <p:nvPr/>
        </p:nvSpPr>
        <p:spPr bwMode="auto">
          <a:xfrm>
            <a:off x="3384270" y="5027752"/>
            <a:ext cx="1165605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691102" y="5027752"/>
            <a:ext cx="38129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달력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192977" y="4972892"/>
            <a:ext cx="783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~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5383897" y="5027752"/>
            <a:ext cx="1165605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6690729" y="5027752"/>
            <a:ext cx="38129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달력</a:t>
            </a:r>
          </a:p>
        </p:txBody>
      </p:sp>
      <p:pic>
        <p:nvPicPr>
          <p:cNvPr id="103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96" t="46566" r="43349" b="32682"/>
          <a:stretch/>
        </p:blipFill>
        <p:spPr bwMode="auto">
          <a:xfrm>
            <a:off x="8123308" y="3754004"/>
            <a:ext cx="1430650" cy="11832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032" name="꺾인 연결선 1031"/>
          <p:cNvCxnSpPr>
            <a:stCxn id="77" idx="3"/>
            <a:endCxn id="1030" idx="1"/>
          </p:cNvCxnSpPr>
          <p:nvPr/>
        </p:nvCxnSpPr>
        <p:spPr bwMode="auto">
          <a:xfrm flipV="1">
            <a:off x="7072020" y="4345610"/>
            <a:ext cx="1051289" cy="418978"/>
          </a:xfrm>
          <a:prstGeom prst="bentConnector3">
            <a:avLst/>
          </a:prstGeom>
          <a:noFill/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4" name="직사각형 93"/>
          <p:cNvSpPr/>
          <p:nvPr/>
        </p:nvSpPr>
        <p:spPr bwMode="auto">
          <a:xfrm>
            <a:off x="3384270" y="5430932"/>
            <a:ext cx="1688123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4770942" y="5430932"/>
            <a:ext cx="30145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▼</a:t>
            </a:r>
          </a:p>
        </p:txBody>
      </p:sp>
      <p:sp>
        <p:nvSpPr>
          <p:cNvPr id="1037" name="직사각형 1036"/>
          <p:cNvSpPr/>
          <p:nvPr/>
        </p:nvSpPr>
        <p:spPr bwMode="auto">
          <a:xfrm>
            <a:off x="3453082" y="5828026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4226855" y="5828026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5280309" y="5828029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6359743" y="5821845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8" name="TextBox 1037"/>
          <p:cNvSpPr txBox="1"/>
          <p:nvPr/>
        </p:nvSpPr>
        <p:spPr>
          <a:xfrm>
            <a:off x="3649495" y="5757695"/>
            <a:ext cx="3978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KT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4443550" y="5747647"/>
            <a:ext cx="6992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5471521" y="5747646"/>
            <a:ext cx="6896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6578041" y="5741462"/>
            <a:ext cx="6960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9" name="모서리가 둥근 직사각형 1038"/>
          <p:cNvSpPr/>
          <p:nvPr/>
        </p:nvSpPr>
        <p:spPr bwMode="auto">
          <a:xfrm>
            <a:off x="4328819" y="6129493"/>
            <a:ext cx="1004841" cy="2713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발행</a:t>
            </a:r>
          </a:p>
        </p:txBody>
      </p:sp>
      <p:sp>
        <p:nvSpPr>
          <p:cNvPr id="107" name="직사각형 106"/>
          <p:cNvSpPr/>
          <p:nvPr/>
        </p:nvSpPr>
        <p:spPr bwMode="auto">
          <a:xfrm>
            <a:off x="3384270" y="4257227"/>
            <a:ext cx="1688123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0" name="타원 1039"/>
          <p:cNvSpPr/>
          <p:nvPr/>
        </p:nvSpPr>
        <p:spPr bwMode="auto">
          <a:xfrm>
            <a:off x="495672" y="1650508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9" name="타원 108"/>
          <p:cNvSpPr/>
          <p:nvPr/>
        </p:nvSpPr>
        <p:spPr bwMode="auto">
          <a:xfrm>
            <a:off x="3278798" y="3052255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타원 109"/>
          <p:cNvSpPr/>
          <p:nvPr/>
        </p:nvSpPr>
        <p:spPr bwMode="auto">
          <a:xfrm>
            <a:off x="3278798" y="3854893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타원 110"/>
          <p:cNvSpPr/>
          <p:nvPr/>
        </p:nvSpPr>
        <p:spPr bwMode="auto">
          <a:xfrm>
            <a:off x="3278798" y="4240522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타원 111"/>
          <p:cNvSpPr/>
          <p:nvPr/>
        </p:nvSpPr>
        <p:spPr bwMode="auto">
          <a:xfrm>
            <a:off x="3278798" y="4642405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타원 112"/>
          <p:cNvSpPr/>
          <p:nvPr/>
        </p:nvSpPr>
        <p:spPr bwMode="auto">
          <a:xfrm>
            <a:off x="3278798" y="5013581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타원 113"/>
          <p:cNvSpPr/>
          <p:nvPr/>
        </p:nvSpPr>
        <p:spPr bwMode="auto">
          <a:xfrm>
            <a:off x="3278798" y="5414227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타원 114"/>
          <p:cNvSpPr/>
          <p:nvPr/>
        </p:nvSpPr>
        <p:spPr bwMode="auto">
          <a:xfrm>
            <a:off x="3278798" y="5800875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타원 115"/>
          <p:cNvSpPr/>
          <p:nvPr/>
        </p:nvSpPr>
        <p:spPr bwMode="auto">
          <a:xfrm>
            <a:off x="7051920" y="4642405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3384270" y="3462612"/>
            <a:ext cx="2582429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6037036" y="3462612"/>
            <a:ext cx="723481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일 찾기</a:t>
            </a:r>
          </a:p>
        </p:txBody>
      </p:sp>
      <p:sp>
        <p:nvSpPr>
          <p:cNvPr id="121" name="타원 120"/>
          <p:cNvSpPr/>
          <p:nvPr/>
        </p:nvSpPr>
        <p:spPr bwMode="auto">
          <a:xfrm>
            <a:off x="3278798" y="3482387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08317607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1168400" y="468312"/>
            <a:ext cx="1507639" cy="288000"/>
          </a:xfrm>
        </p:spPr>
        <p:txBody>
          <a:bodyPr anchor="ctr">
            <a:normAutofit/>
          </a:bodyPr>
          <a:lstStyle/>
          <a:p>
            <a:r>
              <a:rPr lang="ko-KR" altLang="en-US" sz="900" dirty="0" err="1"/>
              <a:t>제휴사</a:t>
            </a:r>
            <a:r>
              <a:rPr lang="ko-KR" altLang="en-US" sz="900" dirty="0"/>
              <a:t> 쿠폰 조회 화면</a:t>
            </a:r>
          </a:p>
        </p:txBody>
      </p:sp>
      <p:sp>
        <p:nvSpPr>
          <p:cNvPr id="59" name="텍스트 개체 틀 3"/>
          <p:cNvSpPr>
            <a:spLocks noGrp="1"/>
          </p:cNvSpPr>
          <p:nvPr>
            <p:ph type="body" sz="quarter" idx="12"/>
          </p:nvPr>
        </p:nvSpPr>
        <p:spPr>
          <a:xfrm>
            <a:off x="7851775" y="748592"/>
            <a:ext cx="2020888" cy="5738919"/>
          </a:xfrm>
        </p:spPr>
        <p:txBody>
          <a:bodyPr/>
          <a:lstStyle/>
          <a:p>
            <a:pPr marL="0" lvl="1" indent="0">
              <a:buNone/>
            </a:pPr>
            <a:endParaRPr lang="en-US" altLang="ko-KR" sz="800" dirty="0"/>
          </a:p>
          <a:p>
            <a:pPr marL="108000" lvl="1" indent="-108000">
              <a:buFontTx/>
              <a:buAutoNum type="arabicPeriod"/>
            </a:pPr>
            <a:endParaRPr lang="en-US" altLang="ko-KR" sz="800" dirty="0"/>
          </a:p>
        </p:txBody>
      </p:sp>
      <p:sp>
        <p:nvSpPr>
          <p:cNvPr id="8" name="TextBox 7"/>
          <p:cNvSpPr txBox="1"/>
          <p:nvPr/>
        </p:nvSpPr>
        <p:spPr>
          <a:xfrm>
            <a:off x="2003488" y="2587607"/>
            <a:ext cx="36535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휴사별 발급된 쿠폰 정보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태를 조회하는 화면 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5727" y="2597804"/>
            <a:ext cx="1368323" cy="2215991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발급 관리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력 관리</a:t>
            </a:r>
            <a:endParaRPr lang="en-US" altLang="ko-KR" sz="1200" u="sng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SKT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en-US" altLang="ko-KR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u="sng" dirty="0" err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조회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600878" y="842638"/>
          <a:ext cx="7154426" cy="1579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86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77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3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Nod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Block Cha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SK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2" name="직선 연결선 11"/>
          <p:cNvCxnSpPr/>
          <p:nvPr/>
        </p:nvCxnSpPr>
        <p:spPr bwMode="auto">
          <a:xfrm>
            <a:off x="438851" y="2517419"/>
            <a:ext cx="741600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직선 연결선 12"/>
          <p:cNvCxnSpPr/>
          <p:nvPr/>
        </p:nvCxnSpPr>
        <p:spPr bwMode="auto">
          <a:xfrm flipV="1">
            <a:off x="1994178" y="2517419"/>
            <a:ext cx="0" cy="3973816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타원 37"/>
          <p:cNvSpPr/>
          <p:nvPr/>
        </p:nvSpPr>
        <p:spPr bwMode="auto">
          <a:xfrm>
            <a:off x="2158375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타원 38"/>
          <p:cNvSpPr/>
          <p:nvPr/>
        </p:nvSpPr>
        <p:spPr bwMode="auto">
          <a:xfrm>
            <a:off x="2598510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타원 39"/>
          <p:cNvSpPr/>
          <p:nvPr/>
        </p:nvSpPr>
        <p:spPr bwMode="auto">
          <a:xfrm>
            <a:off x="3012948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타원 40"/>
          <p:cNvSpPr/>
          <p:nvPr/>
        </p:nvSpPr>
        <p:spPr bwMode="auto">
          <a:xfrm>
            <a:off x="3453083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타원 41"/>
          <p:cNvSpPr/>
          <p:nvPr/>
        </p:nvSpPr>
        <p:spPr bwMode="auto">
          <a:xfrm>
            <a:off x="2158375" y="144696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타원 42"/>
          <p:cNvSpPr/>
          <p:nvPr/>
        </p:nvSpPr>
        <p:spPr bwMode="auto">
          <a:xfrm>
            <a:off x="2158375" y="178715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타원 43"/>
          <p:cNvSpPr/>
          <p:nvPr/>
        </p:nvSpPr>
        <p:spPr bwMode="auto">
          <a:xfrm>
            <a:off x="2170103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타원 44"/>
          <p:cNvSpPr/>
          <p:nvPr/>
        </p:nvSpPr>
        <p:spPr bwMode="auto">
          <a:xfrm>
            <a:off x="2598510" y="179068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타원 45"/>
          <p:cNvSpPr/>
          <p:nvPr/>
        </p:nvSpPr>
        <p:spPr bwMode="auto">
          <a:xfrm>
            <a:off x="2598510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타원 46"/>
          <p:cNvSpPr/>
          <p:nvPr/>
        </p:nvSpPr>
        <p:spPr bwMode="auto">
          <a:xfrm>
            <a:off x="3012948" y="1446964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타원 47"/>
          <p:cNvSpPr/>
          <p:nvPr/>
        </p:nvSpPr>
        <p:spPr bwMode="auto">
          <a:xfrm>
            <a:off x="3012948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타원 48"/>
          <p:cNvSpPr/>
          <p:nvPr/>
        </p:nvSpPr>
        <p:spPr bwMode="auto">
          <a:xfrm>
            <a:off x="3453083" y="1782133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3015477" y="2868573"/>
            <a:ext cx="2036820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5040536" y="2868573"/>
            <a:ext cx="301451" cy="216024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▼</a:t>
            </a:r>
          </a:p>
        </p:txBody>
      </p:sp>
      <p:sp>
        <p:nvSpPr>
          <p:cNvPr id="61" name="타원 60"/>
          <p:cNvSpPr/>
          <p:nvPr/>
        </p:nvSpPr>
        <p:spPr bwMode="auto">
          <a:xfrm>
            <a:off x="5362082" y="2894165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103637" y="2853475"/>
            <a:ext cx="9156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선택</a:t>
            </a:r>
          </a:p>
        </p:txBody>
      </p:sp>
      <p:graphicFrame>
        <p:nvGraphicFramePr>
          <p:cNvPr id="62" name="표 61"/>
          <p:cNvGraphicFramePr>
            <a:graphicFrameLocks noGrp="1"/>
          </p:cNvGraphicFramePr>
          <p:nvPr>
            <p:extLst/>
          </p:nvPr>
        </p:nvGraphicFramePr>
        <p:xfrm>
          <a:off x="2183147" y="3259314"/>
          <a:ext cx="5582205" cy="3108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9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85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4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64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64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64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N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쿠폰 번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유효 기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상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사용자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err="1">
                          <a:effectLst/>
                        </a:rPr>
                        <a:t>사용일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kj12345678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kj12345679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사용 완료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dandyju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kj12345679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kj12345679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kj12345679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kkj12345679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79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8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79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79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미사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79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미사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79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80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80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80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80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8.07.23~18.09.3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kj12345680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8.07.23~18.09.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미사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63" name="TextBox 62"/>
          <p:cNvSpPr txBox="1"/>
          <p:nvPr/>
        </p:nvSpPr>
        <p:spPr>
          <a:xfrm>
            <a:off x="7888429" y="753636"/>
            <a:ext cx="19669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선택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콤보박스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에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발급된 쿠폰 리스트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쿠폰명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선택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해당 쿠폰  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리스트 하단에 노출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택 쿠폰 전체 리스트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된 쿠폰의 경우 사용자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사용일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정보 업데이트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타원 63"/>
          <p:cNvSpPr/>
          <p:nvPr/>
        </p:nvSpPr>
        <p:spPr bwMode="auto">
          <a:xfrm>
            <a:off x="2049523" y="3286054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3074352" y="2853274"/>
            <a:ext cx="155202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0%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할인 쿠폰</a:t>
            </a:r>
          </a:p>
        </p:txBody>
      </p:sp>
    </p:spTree>
    <p:extLst>
      <p:ext uri="{BB962C8B-B14F-4D97-AF65-F5344CB8AC3E}">
        <p14:creationId xmlns:p14="http://schemas.microsoft.com/office/powerpoint/2010/main" val="719777521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3343684" y="2889129"/>
            <a:ext cx="2939041" cy="246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 &gt; My page 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유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쿠폰함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3344078" y="2884067"/>
            <a:ext cx="2934119" cy="3516730"/>
          </a:xfrm>
          <a:prstGeom prst="rect">
            <a:avLst/>
          </a:prstGeom>
          <a:noFill/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1168399" y="468312"/>
            <a:ext cx="2035002" cy="288000"/>
          </a:xfrm>
        </p:spPr>
        <p:txBody>
          <a:bodyPr anchor="ctr">
            <a:normAutofit/>
          </a:bodyPr>
          <a:lstStyle/>
          <a:p>
            <a:r>
              <a:rPr lang="ko-KR" altLang="en-US" sz="900" dirty="0"/>
              <a:t>사용자 쿠폰 조회</a:t>
            </a:r>
            <a:r>
              <a:rPr lang="en-US" altLang="ko-KR" sz="900" dirty="0"/>
              <a:t>, </a:t>
            </a:r>
            <a:r>
              <a:rPr lang="ko-KR" altLang="en-US" sz="900" dirty="0"/>
              <a:t>사용 화면</a:t>
            </a:r>
          </a:p>
        </p:txBody>
      </p:sp>
      <p:sp>
        <p:nvSpPr>
          <p:cNvPr id="59" name="텍스트 개체 틀 3"/>
          <p:cNvSpPr>
            <a:spLocks noGrp="1"/>
          </p:cNvSpPr>
          <p:nvPr>
            <p:ph type="body" sz="quarter" idx="12"/>
          </p:nvPr>
        </p:nvSpPr>
        <p:spPr>
          <a:xfrm>
            <a:off x="7851775" y="748592"/>
            <a:ext cx="2020888" cy="5738919"/>
          </a:xfrm>
        </p:spPr>
        <p:txBody>
          <a:bodyPr/>
          <a:lstStyle/>
          <a:p>
            <a:pPr marL="0" lvl="1" indent="0">
              <a:buNone/>
            </a:pPr>
            <a:endParaRPr lang="en-US" altLang="ko-KR" sz="800" dirty="0"/>
          </a:p>
          <a:p>
            <a:pPr marL="108000" lvl="1" indent="-108000">
              <a:buFontTx/>
              <a:buAutoNum type="arabicPeriod"/>
            </a:pPr>
            <a:endParaRPr lang="en-US" altLang="ko-KR" sz="800" dirty="0"/>
          </a:p>
        </p:txBody>
      </p:sp>
      <p:sp>
        <p:nvSpPr>
          <p:cNvPr id="10" name="TextBox 9"/>
          <p:cNvSpPr txBox="1"/>
          <p:nvPr/>
        </p:nvSpPr>
        <p:spPr>
          <a:xfrm>
            <a:off x="505727" y="2597804"/>
            <a:ext cx="1368323" cy="2215991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발급 관리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력 관리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SKT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쿠폰 조회</a:t>
            </a:r>
            <a:r>
              <a:rPr lang="en-US" altLang="ko-KR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600878" y="842638"/>
          <a:ext cx="7154426" cy="1579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7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3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Nod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Block Cha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SK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2" name="직선 연결선 11"/>
          <p:cNvCxnSpPr/>
          <p:nvPr/>
        </p:nvCxnSpPr>
        <p:spPr bwMode="auto">
          <a:xfrm>
            <a:off x="438851" y="2517419"/>
            <a:ext cx="741600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직선 연결선 12"/>
          <p:cNvCxnSpPr/>
          <p:nvPr/>
        </p:nvCxnSpPr>
        <p:spPr bwMode="auto">
          <a:xfrm flipV="1">
            <a:off x="1994178" y="2517419"/>
            <a:ext cx="0" cy="3973816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2003489" y="2587607"/>
            <a:ext cx="37914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에게 발급된 쿠폰을 조회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처리 하는 화면 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타원 26"/>
          <p:cNvSpPr/>
          <p:nvPr/>
        </p:nvSpPr>
        <p:spPr bwMode="auto">
          <a:xfrm>
            <a:off x="2158375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타원 27"/>
          <p:cNvSpPr/>
          <p:nvPr/>
        </p:nvSpPr>
        <p:spPr bwMode="auto">
          <a:xfrm>
            <a:off x="2598510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타원 28"/>
          <p:cNvSpPr/>
          <p:nvPr/>
        </p:nvSpPr>
        <p:spPr bwMode="auto">
          <a:xfrm>
            <a:off x="3012948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타원 29"/>
          <p:cNvSpPr/>
          <p:nvPr/>
        </p:nvSpPr>
        <p:spPr bwMode="auto">
          <a:xfrm>
            <a:off x="3453083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타원 30"/>
          <p:cNvSpPr/>
          <p:nvPr/>
        </p:nvSpPr>
        <p:spPr bwMode="auto">
          <a:xfrm>
            <a:off x="2158375" y="144696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타원 31"/>
          <p:cNvSpPr/>
          <p:nvPr/>
        </p:nvSpPr>
        <p:spPr bwMode="auto">
          <a:xfrm>
            <a:off x="2158375" y="178715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타원 32"/>
          <p:cNvSpPr/>
          <p:nvPr/>
        </p:nvSpPr>
        <p:spPr bwMode="auto">
          <a:xfrm>
            <a:off x="2170103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2598510" y="179068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타원 34"/>
          <p:cNvSpPr/>
          <p:nvPr/>
        </p:nvSpPr>
        <p:spPr bwMode="auto">
          <a:xfrm>
            <a:off x="2598510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타원 35"/>
          <p:cNvSpPr/>
          <p:nvPr/>
        </p:nvSpPr>
        <p:spPr bwMode="auto">
          <a:xfrm>
            <a:off x="3012948" y="1446964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타원 36"/>
          <p:cNvSpPr/>
          <p:nvPr/>
        </p:nvSpPr>
        <p:spPr bwMode="auto">
          <a:xfrm>
            <a:off x="3012948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타원 37"/>
          <p:cNvSpPr/>
          <p:nvPr/>
        </p:nvSpPr>
        <p:spPr bwMode="auto">
          <a:xfrm>
            <a:off x="3453083" y="1782133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4328819" y="5948629"/>
            <a:ext cx="1004841" cy="27130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사용</a:t>
            </a:r>
          </a:p>
        </p:txBody>
      </p:sp>
      <p:grpSp>
        <p:nvGrpSpPr>
          <p:cNvPr id="57" name="그룹 56"/>
          <p:cNvGrpSpPr/>
          <p:nvPr/>
        </p:nvGrpSpPr>
        <p:grpSpPr>
          <a:xfrm>
            <a:off x="3669118" y="4114894"/>
            <a:ext cx="2574920" cy="693560"/>
            <a:chOff x="3510368" y="4114894"/>
            <a:chExt cx="2574920" cy="693560"/>
          </a:xfrm>
        </p:grpSpPr>
        <p:sp>
          <p:nvSpPr>
            <p:cNvPr id="45" name="직사각형 44"/>
            <p:cNvSpPr/>
            <p:nvPr/>
          </p:nvSpPr>
          <p:spPr bwMode="auto">
            <a:xfrm>
              <a:off x="3510368" y="4114894"/>
              <a:ext cx="679791" cy="693336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</p:spPr>
          <p:txBody>
            <a:bodyPr wrap="none" rtlCol="0" anchor="ctr"/>
            <a:lstStyle/>
            <a:p>
              <a:r>
                <a:rPr lang="ko-KR" altLang="en-US" sz="10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미지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198233" y="4130507"/>
              <a:ext cx="18870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ko-KR" altLang="en-US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초콜릿 쇼핑몰</a:t>
              </a:r>
              <a:r>
                <a:rPr lang="en-US" altLang="ko-KR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할인 쿠폰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210255" y="4357266"/>
              <a:ext cx="163698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2018.07.23~2018.09.31</a:t>
              </a:r>
              <a:endPara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210255" y="4546844"/>
              <a:ext cx="74892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ko-KR" altLang="en-US" sz="11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용가능</a:t>
              </a:r>
            </a:p>
          </p:txBody>
        </p:sp>
      </p:grpSp>
      <p:grpSp>
        <p:nvGrpSpPr>
          <p:cNvPr id="58" name="그룹 57"/>
          <p:cNvGrpSpPr/>
          <p:nvPr/>
        </p:nvGrpSpPr>
        <p:grpSpPr>
          <a:xfrm>
            <a:off x="3669118" y="5009194"/>
            <a:ext cx="2701558" cy="693336"/>
            <a:chOff x="3510368" y="4948906"/>
            <a:chExt cx="2701558" cy="693336"/>
          </a:xfrm>
        </p:grpSpPr>
        <p:sp>
          <p:nvSpPr>
            <p:cNvPr id="46" name="직사각형 45"/>
            <p:cNvSpPr/>
            <p:nvPr/>
          </p:nvSpPr>
          <p:spPr bwMode="auto">
            <a:xfrm>
              <a:off x="3510368" y="4948906"/>
              <a:ext cx="679791" cy="693336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</p:spPr>
          <p:txBody>
            <a:bodyPr wrap="none" rtlCol="0" anchor="ctr"/>
            <a:lstStyle/>
            <a:p>
              <a:r>
                <a:rPr lang="ko-KR" altLang="en-US" sz="10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미지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198233" y="4949540"/>
              <a:ext cx="201369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ko-KR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T</a:t>
              </a:r>
              <a:r>
                <a:rPr lang="ko-KR" altLang="en-US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멤버십 </a:t>
              </a:r>
              <a:r>
                <a:rPr lang="en-US" altLang="ko-KR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5,000</a:t>
              </a:r>
              <a:r>
                <a:rPr lang="ko-KR" altLang="en-US" sz="12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원 </a:t>
              </a:r>
              <a:r>
                <a:rPr lang="ko-KR" altLang="en-US" sz="1200" dirty="0" err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프티콘</a:t>
              </a:r>
              <a:endPara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4210255" y="5176299"/>
              <a:ext cx="163698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2018.07.23~2018.09.31</a:t>
              </a:r>
              <a:endPara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210255" y="5365877"/>
              <a:ext cx="108074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ko-KR" altLang="en-US" sz="11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효기간 만료</a:t>
              </a:r>
            </a:p>
          </p:txBody>
        </p:sp>
      </p:grpSp>
      <p:cxnSp>
        <p:nvCxnSpPr>
          <p:cNvPr id="54" name="직선 연결선 53"/>
          <p:cNvCxnSpPr/>
          <p:nvPr/>
        </p:nvCxnSpPr>
        <p:spPr bwMode="auto">
          <a:xfrm>
            <a:off x="3417918" y="4913614"/>
            <a:ext cx="2808000" cy="0"/>
          </a:xfrm>
          <a:prstGeom prst="line">
            <a:avLst/>
          </a:prstGeom>
          <a:noFill/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Box 40"/>
          <p:cNvSpPr txBox="1"/>
          <p:nvPr/>
        </p:nvSpPr>
        <p:spPr>
          <a:xfrm>
            <a:off x="4356984" y="3245623"/>
            <a:ext cx="1829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0%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할인 쿠폰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3669119" y="3245622"/>
            <a:ext cx="679791" cy="693336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미지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369006" y="3472381"/>
            <a:ext cx="1636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8.07.23~2018.09.31</a:t>
            </a:r>
            <a:endParaRPr lang="ko-KR" altLang="en-US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369006" y="3661959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완료</a:t>
            </a:r>
          </a:p>
        </p:txBody>
      </p:sp>
      <p:cxnSp>
        <p:nvCxnSpPr>
          <p:cNvPr id="56" name="직선 연결선 55"/>
          <p:cNvCxnSpPr/>
          <p:nvPr/>
        </p:nvCxnSpPr>
        <p:spPr bwMode="auto">
          <a:xfrm>
            <a:off x="3417918" y="4029390"/>
            <a:ext cx="2808000" cy="0"/>
          </a:xfrm>
          <a:prstGeom prst="line">
            <a:avLst/>
          </a:prstGeom>
          <a:noFill/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직사각형 59"/>
          <p:cNvSpPr/>
          <p:nvPr/>
        </p:nvSpPr>
        <p:spPr bwMode="auto">
          <a:xfrm>
            <a:off x="3453082" y="5285434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453082" y="4412709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453082" y="3529127"/>
            <a:ext cx="125604" cy="110532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888429" y="753635"/>
            <a:ext cx="1966980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가 받은 쿠폰 리스트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미지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쿠폰명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유효기간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상태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완료 처리할 쿠폰 선택 체크박스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) 2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번 체크 박스 선택 후 쿠폰 사용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클리시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해당 쿠폰 사용 완료 처리 기능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제 화면은 사용자 단말기의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마이페이지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&gt;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유 쿠폰 페이지에 노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64" name="타원 63"/>
          <p:cNvSpPr/>
          <p:nvPr/>
        </p:nvSpPr>
        <p:spPr bwMode="auto">
          <a:xfrm>
            <a:off x="3623904" y="3511187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타원 64"/>
          <p:cNvSpPr/>
          <p:nvPr/>
        </p:nvSpPr>
        <p:spPr bwMode="auto">
          <a:xfrm>
            <a:off x="3277240" y="4374494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타원 65"/>
          <p:cNvSpPr/>
          <p:nvPr/>
        </p:nvSpPr>
        <p:spPr bwMode="auto">
          <a:xfrm>
            <a:off x="4208231" y="6001860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7004521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1168399" y="468312"/>
            <a:ext cx="2035002" cy="288000"/>
          </a:xfrm>
        </p:spPr>
        <p:txBody>
          <a:bodyPr anchor="ctr">
            <a:normAutofit/>
          </a:bodyPr>
          <a:lstStyle/>
          <a:p>
            <a:r>
              <a:rPr lang="ko-KR" altLang="en-US" sz="900" dirty="0" err="1"/>
              <a:t>제휴사</a:t>
            </a:r>
            <a:r>
              <a:rPr lang="ko-KR" altLang="en-US" sz="900" dirty="0"/>
              <a:t> 가맹점 쿠폰 조회 화면</a:t>
            </a:r>
          </a:p>
        </p:txBody>
      </p:sp>
      <p:sp>
        <p:nvSpPr>
          <p:cNvPr id="59" name="텍스트 개체 틀 3"/>
          <p:cNvSpPr>
            <a:spLocks noGrp="1"/>
          </p:cNvSpPr>
          <p:nvPr>
            <p:ph type="body" sz="quarter" idx="12"/>
          </p:nvPr>
        </p:nvSpPr>
        <p:spPr>
          <a:xfrm>
            <a:off x="7851775" y="748592"/>
            <a:ext cx="2020888" cy="5738919"/>
          </a:xfrm>
        </p:spPr>
        <p:txBody>
          <a:bodyPr/>
          <a:lstStyle/>
          <a:p>
            <a:pPr marL="0" lvl="1" indent="0">
              <a:buNone/>
            </a:pPr>
            <a:endParaRPr lang="en-US" altLang="ko-KR" sz="800" dirty="0"/>
          </a:p>
          <a:p>
            <a:pPr marL="108000" lvl="1" indent="-108000">
              <a:buFontTx/>
              <a:buAutoNum type="arabicPeriod"/>
            </a:pPr>
            <a:endParaRPr lang="en-US" altLang="ko-KR" sz="800" dirty="0"/>
          </a:p>
        </p:txBody>
      </p:sp>
      <p:sp>
        <p:nvSpPr>
          <p:cNvPr id="10" name="TextBox 9"/>
          <p:cNvSpPr txBox="1"/>
          <p:nvPr/>
        </p:nvSpPr>
        <p:spPr>
          <a:xfrm>
            <a:off x="505727" y="2597804"/>
            <a:ext cx="1368323" cy="2215991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발급 관리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이력 관리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SKT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</a:p>
          <a:p>
            <a:pPr algn="l">
              <a:lnSpc>
                <a:spcPct val="15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</a:p>
          <a:p>
            <a:pPr marL="228600" indent="-228600">
              <a:buFont typeface="Wingdings" panose="05000000000000000000" pitchFamily="2" charset="2"/>
              <a:buChar char="Ø"/>
            </a:pPr>
            <a:endParaRPr lang="en-US" altLang="ko-KR" sz="1200" u="sng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28600" indent="-228600">
              <a:buFont typeface="Wingdings" panose="05000000000000000000" pitchFamily="2" charset="2"/>
              <a:buChar char="Ø"/>
            </a:pP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쿠폰 조회</a:t>
            </a:r>
            <a:r>
              <a:rPr lang="en-US" altLang="ko-KR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u="sng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600878" y="842638"/>
          <a:ext cx="7154426" cy="1579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7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38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Nod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smtClean="0">
                          <a:effectLst/>
                        </a:rPr>
                        <a:t>Block Cha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SK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79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제휴사 </a:t>
                      </a:r>
                      <a:r>
                        <a:rPr lang="en-US" sz="1100" u="none" strike="noStrike">
                          <a:effectLst/>
                        </a:rPr>
                        <a:t>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021" marR="8021" marT="80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2" name="직선 연결선 11"/>
          <p:cNvCxnSpPr/>
          <p:nvPr/>
        </p:nvCxnSpPr>
        <p:spPr bwMode="auto">
          <a:xfrm>
            <a:off x="438851" y="2517419"/>
            <a:ext cx="741600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직선 연결선 12"/>
          <p:cNvCxnSpPr/>
          <p:nvPr/>
        </p:nvCxnSpPr>
        <p:spPr bwMode="auto">
          <a:xfrm flipV="1">
            <a:off x="1994178" y="2517419"/>
            <a:ext cx="0" cy="3973816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2003489" y="2587607"/>
            <a:ext cx="30668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가맹점 쿠폰 조회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사용처리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화면 입니다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타원 26"/>
          <p:cNvSpPr/>
          <p:nvPr/>
        </p:nvSpPr>
        <p:spPr bwMode="auto">
          <a:xfrm>
            <a:off x="2158375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타원 27"/>
          <p:cNvSpPr/>
          <p:nvPr/>
        </p:nvSpPr>
        <p:spPr bwMode="auto">
          <a:xfrm>
            <a:off x="2598510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타원 28"/>
          <p:cNvSpPr/>
          <p:nvPr/>
        </p:nvSpPr>
        <p:spPr bwMode="auto">
          <a:xfrm>
            <a:off x="3012948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타원 29"/>
          <p:cNvSpPr/>
          <p:nvPr/>
        </p:nvSpPr>
        <p:spPr bwMode="auto">
          <a:xfrm>
            <a:off x="3453083" y="110532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타원 30"/>
          <p:cNvSpPr/>
          <p:nvPr/>
        </p:nvSpPr>
        <p:spPr bwMode="auto">
          <a:xfrm>
            <a:off x="2158375" y="144696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타원 31"/>
          <p:cNvSpPr/>
          <p:nvPr/>
        </p:nvSpPr>
        <p:spPr bwMode="auto">
          <a:xfrm>
            <a:off x="2158375" y="1787155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타원 32"/>
          <p:cNvSpPr/>
          <p:nvPr/>
        </p:nvSpPr>
        <p:spPr bwMode="auto">
          <a:xfrm>
            <a:off x="2170103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2598510" y="1790680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타원 34"/>
          <p:cNvSpPr/>
          <p:nvPr/>
        </p:nvSpPr>
        <p:spPr bwMode="auto">
          <a:xfrm>
            <a:off x="2598510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타원 35"/>
          <p:cNvSpPr/>
          <p:nvPr/>
        </p:nvSpPr>
        <p:spPr bwMode="auto">
          <a:xfrm>
            <a:off x="3012948" y="1446964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타원 36"/>
          <p:cNvSpPr/>
          <p:nvPr/>
        </p:nvSpPr>
        <p:spPr bwMode="auto">
          <a:xfrm>
            <a:off x="3012948" y="2120419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타원 37"/>
          <p:cNvSpPr/>
          <p:nvPr/>
        </p:nvSpPr>
        <p:spPr bwMode="auto">
          <a:xfrm>
            <a:off x="3453083" y="1782133"/>
            <a:ext cx="251209" cy="25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000" dirty="0" err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888429" y="753636"/>
            <a:ext cx="19669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정보 데이터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정불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바코드 인식 불가시 쿠폰 번호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키인 가능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)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제 화면은 가맹점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OS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기에서 제휴 쿠폰 관리 화면에서 노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바코드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태깅시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2066519" y="2924054"/>
            <a:ext cx="1217000" cy="249848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>
              <a:lnSpc>
                <a:spcPct val="150000"/>
              </a:lnSpc>
            </a:pPr>
            <a:endParaRPr lang="ko-KR" altLang="en-US" sz="1000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051405" y="2914349"/>
            <a:ext cx="1265090" cy="242767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쿠폰명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번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력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유형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효 기간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여부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171450" indent="-1714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동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68" name="직사각형 67"/>
          <p:cNvSpPr/>
          <p:nvPr/>
        </p:nvSpPr>
        <p:spPr bwMode="auto">
          <a:xfrm>
            <a:off x="3384270" y="3068960"/>
            <a:ext cx="3376247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,000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 할인권</a:t>
            </a:r>
          </a:p>
        </p:txBody>
      </p:sp>
      <p:sp>
        <p:nvSpPr>
          <p:cNvPr id="69" name="직사각형 68"/>
          <p:cNvSpPr/>
          <p:nvPr/>
        </p:nvSpPr>
        <p:spPr bwMode="auto">
          <a:xfrm>
            <a:off x="3384270" y="3852347"/>
            <a:ext cx="1688123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l"/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기프티콘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모서리가 둥근 직사각형 90"/>
          <p:cNvSpPr/>
          <p:nvPr/>
        </p:nvSpPr>
        <p:spPr bwMode="auto">
          <a:xfrm>
            <a:off x="4328819" y="5561607"/>
            <a:ext cx="1004841" cy="27130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사용 처리</a:t>
            </a:r>
          </a:p>
        </p:txBody>
      </p:sp>
      <p:sp>
        <p:nvSpPr>
          <p:cNvPr id="104" name="직사각형 103"/>
          <p:cNvSpPr/>
          <p:nvPr/>
        </p:nvSpPr>
        <p:spPr bwMode="auto">
          <a:xfrm>
            <a:off x="3384270" y="4238149"/>
            <a:ext cx="1688123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l"/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8.01.01  ~ 2018.12.31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3384270" y="4623574"/>
            <a:ext cx="1688123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l"/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미사용</a:t>
            </a:r>
          </a:p>
        </p:txBody>
      </p:sp>
      <p:sp>
        <p:nvSpPr>
          <p:cNvPr id="106" name="직사각형 105"/>
          <p:cNvSpPr/>
          <p:nvPr/>
        </p:nvSpPr>
        <p:spPr bwMode="auto">
          <a:xfrm>
            <a:off x="3384270" y="5008999"/>
            <a:ext cx="1688123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l"/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, 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3384270" y="3463293"/>
            <a:ext cx="3376247" cy="216024"/>
          </a:xfrm>
          <a:prstGeom prst="rect">
            <a:avLst/>
          </a:prstGeom>
          <a:noFill/>
          <a:ln w="3175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l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T21435679A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타원 107"/>
          <p:cNvSpPr/>
          <p:nvPr/>
        </p:nvSpPr>
        <p:spPr bwMode="auto">
          <a:xfrm>
            <a:off x="6747903" y="3094552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9" name="타원 108"/>
          <p:cNvSpPr/>
          <p:nvPr/>
        </p:nvSpPr>
        <p:spPr bwMode="auto">
          <a:xfrm>
            <a:off x="6747903" y="3490602"/>
            <a:ext cx="160774" cy="164841"/>
          </a:xfrm>
          <a:prstGeom prst="ellipse">
            <a:avLst/>
          </a:prstGeom>
          <a:solidFill>
            <a:srgbClr val="FF0000"/>
          </a:solidFill>
          <a:ln w="3175" algn="ctr">
            <a:noFill/>
            <a:prstDash val="solid"/>
            <a:round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000" dirty="0" err="1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4445863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</a:t>
            </a:r>
            <a:r>
              <a:rPr lang="en-US" altLang="ko-KR" dirty="0" smtClean="0"/>
              <a:t> </a:t>
            </a:r>
            <a:r>
              <a:rPr lang="ko-KR" altLang="en-US" dirty="0" smtClean="0"/>
              <a:t>발행 화면</a:t>
            </a:r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l="10055" t="19551" r="10055" b="5901"/>
          <a:stretch/>
        </p:blipFill>
        <p:spPr>
          <a:xfrm>
            <a:off x="792063" y="908720"/>
            <a:ext cx="8581785" cy="54006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68537558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</a:t>
            </a:r>
            <a:r>
              <a:rPr lang="en-US" altLang="ko-KR" dirty="0" smtClean="0"/>
              <a:t> </a:t>
            </a:r>
            <a:r>
              <a:rPr lang="ko-KR" altLang="en-US" dirty="0" err="1" smtClean="0"/>
              <a:t>제휴사별</a:t>
            </a:r>
            <a:r>
              <a:rPr lang="ko-KR" altLang="en-US" dirty="0" smtClean="0"/>
              <a:t> 리스트 </a:t>
            </a:r>
            <a:r>
              <a:rPr lang="en-US" altLang="ko-KR" smtClean="0"/>
              <a:t>&amp; </a:t>
            </a:r>
            <a:r>
              <a:rPr lang="ko-KR" altLang="en-US" smtClean="0"/>
              <a:t>쿠폰사용 </a:t>
            </a:r>
            <a:r>
              <a:rPr lang="ko-KR" altLang="en-US" dirty="0" smtClean="0"/>
              <a:t>화면</a:t>
            </a:r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40" y="3645024"/>
            <a:ext cx="7272808" cy="1577153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802" y="836712"/>
            <a:ext cx="7320034" cy="2597431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000" y="2708920"/>
            <a:ext cx="2822100" cy="3500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623009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 </a:t>
            </a:r>
            <a:r>
              <a:rPr lang="ko-KR" altLang="en-US" dirty="0" err="1" smtClean="0"/>
              <a:t>카테고리별</a:t>
            </a:r>
            <a:r>
              <a:rPr lang="ko-KR" altLang="en-US" dirty="0" smtClean="0"/>
              <a:t> 리스트 화면</a:t>
            </a:r>
            <a:endParaRPr lang="ko-KR" altLang="en-US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12"/>
          <a:stretch/>
        </p:blipFill>
        <p:spPr>
          <a:xfrm>
            <a:off x="488751" y="1113706"/>
            <a:ext cx="9247586" cy="497959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47841025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0056" y="188640"/>
            <a:ext cx="878497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b="1" dirty="0" smtClean="0"/>
              <a:t>1. </a:t>
            </a:r>
            <a:r>
              <a:rPr lang="ko-KR" altLang="en-US" b="1" dirty="0" smtClean="0"/>
              <a:t>블록체인</a:t>
            </a:r>
            <a:r>
              <a:rPr lang="en-US" altLang="ko-KR" b="1" dirty="0" smtClean="0"/>
              <a:t>(</a:t>
            </a:r>
            <a:r>
              <a:rPr lang="en-US" altLang="ko-KR" b="1" dirty="0" err="1" smtClean="0"/>
              <a:t>Blockchain</a:t>
            </a:r>
            <a:r>
              <a:rPr lang="en-US" altLang="ko-KR" b="1" dirty="0" smtClean="0"/>
              <a:t>) </a:t>
            </a:r>
            <a:endParaRPr lang="ko-KR" alt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720057" y="764704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/>
              <a:t>■ 블록체인 종류</a:t>
            </a:r>
            <a:endParaRPr lang="ko-KR" altLang="en-US" dirty="0"/>
          </a:p>
        </p:txBody>
      </p:sp>
      <p:pic>
        <p:nvPicPr>
          <p:cNvPr id="1026" name="Picture 2" descr="E:\BlockChain\model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11" y="1814627"/>
            <a:ext cx="2823379" cy="342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E:\BlockChain\model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5344" y="1814627"/>
            <a:ext cx="2820329" cy="342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:\BlockChain\model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426" y="1814627"/>
            <a:ext cx="2842170" cy="34200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200229" y="5415028"/>
            <a:ext cx="659186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출처 </a:t>
            </a:r>
            <a:r>
              <a:rPr lang="en-US" altLang="ko-KR" sz="1000" dirty="0"/>
              <a:t>: www.weforum.org/agenda/2015/11/how-will-blockchain-technology-transform-financial-services/</a:t>
            </a:r>
            <a:endParaRPr lang="ko-KR" altLang="en-US" sz="1000" dirty="0"/>
          </a:p>
        </p:txBody>
      </p:sp>
      <p:sp>
        <p:nvSpPr>
          <p:cNvPr id="3" name="TextBox 2"/>
          <p:cNvSpPr txBox="1"/>
          <p:nvPr/>
        </p:nvSpPr>
        <p:spPr>
          <a:xfrm>
            <a:off x="792064" y="1455282"/>
            <a:ext cx="1282722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ctr">
              <a:defRPr sz="16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400" dirty="0">
                <a:solidFill>
                  <a:schemeClr val="tx1"/>
                </a:solidFill>
              </a:rPr>
              <a:t>현재 시스템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44392" y="1149055"/>
            <a:ext cx="1282722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ctr">
              <a:defRPr sz="16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400" dirty="0">
                <a:solidFill>
                  <a:schemeClr val="tx1"/>
                </a:solidFill>
              </a:rPr>
              <a:t>블록체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59559" y="1487609"/>
            <a:ext cx="2856113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ctr">
              <a:defRPr sz="16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ko-KR" sz="1400" b="0" dirty="0">
                <a:solidFill>
                  <a:schemeClr val="tx1"/>
                </a:solidFill>
              </a:rPr>
              <a:t>Public </a:t>
            </a:r>
            <a:r>
              <a:rPr lang="en-US" altLang="ko-KR" sz="1400" b="0" dirty="0" err="1">
                <a:solidFill>
                  <a:schemeClr val="tx1"/>
                </a:solidFill>
              </a:rPr>
              <a:t>blockchain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76912" y="1484784"/>
            <a:ext cx="2856113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algn="ctr">
              <a:defRPr sz="16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ko-KR" sz="1400" b="0" dirty="0">
                <a:solidFill>
                  <a:schemeClr val="tx1"/>
                </a:solidFill>
              </a:rPr>
              <a:t>Private </a:t>
            </a:r>
            <a:r>
              <a:rPr lang="en-US" altLang="ko-KR" sz="1400" b="0" dirty="0" err="1">
                <a:solidFill>
                  <a:schemeClr val="tx1"/>
                </a:solidFill>
              </a:rPr>
              <a:t>blockchain</a:t>
            </a:r>
            <a:endParaRPr lang="ko-KR" altLang="en-US" sz="1400" b="0" dirty="0">
              <a:solidFill>
                <a:schemeClr val="tx1"/>
              </a:solidFill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659558" y="1484784"/>
            <a:ext cx="5845474" cy="38164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6480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E:\BlockChain\★본부교육자료 준비중\Hyperledger 프로젝트 현황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0236" y="2420888"/>
            <a:ext cx="7174408" cy="375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20056" y="188640"/>
            <a:ext cx="878497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b="1" dirty="0" smtClean="0"/>
              <a:t>2. </a:t>
            </a:r>
            <a:r>
              <a:rPr lang="en-US" altLang="ko-KR" b="1" dirty="0" err="1" smtClean="0"/>
              <a:t>Hyperledger</a:t>
            </a:r>
            <a:endParaRPr lang="ko-KR" altLang="en-US" b="1" dirty="0"/>
          </a:p>
        </p:txBody>
      </p:sp>
      <p:sp>
        <p:nvSpPr>
          <p:cNvPr id="8" name="직사각형 7"/>
          <p:cNvSpPr/>
          <p:nvPr/>
        </p:nvSpPr>
        <p:spPr>
          <a:xfrm>
            <a:off x="864072" y="692696"/>
            <a:ext cx="8496944" cy="1680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600" dirty="0"/>
              <a:t>■ </a:t>
            </a:r>
            <a:r>
              <a:rPr lang="en-US" altLang="ko-KR" sz="1600" b="1" dirty="0" err="1"/>
              <a:t>Hyperledger</a:t>
            </a:r>
            <a:endParaRPr lang="en-US" altLang="ko-KR" sz="1600" b="1" dirty="0"/>
          </a:p>
          <a:p>
            <a:pPr>
              <a:lnSpc>
                <a:spcPct val="120000"/>
              </a:lnSpc>
            </a:pPr>
            <a:r>
              <a:rPr lang="en-US" altLang="ko-KR" sz="1400" dirty="0"/>
              <a:t>  - 2015</a:t>
            </a:r>
            <a:r>
              <a:rPr lang="ko-KR" altLang="en-US" sz="1400" dirty="0"/>
              <a:t>년 </a:t>
            </a:r>
            <a:r>
              <a:rPr lang="en-US" altLang="ko-KR" sz="1400" dirty="0"/>
              <a:t>12</a:t>
            </a:r>
            <a:r>
              <a:rPr lang="ko-KR" altLang="en-US" sz="1400" dirty="0"/>
              <a:t>월 </a:t>
            </a:r>
            <a:r>
              <a:rPr lang="en-US" altLang="ko-KR" sz="1400" dirty="0"/>
              <a:t>17</a:t>
            </a:r>
            <a:r>
              <a:rPr lang="ko-KR" altLang="en-US" sz="1400" dirty="0"/>
              <a:t>일에 </a:t>
            </a:r>
            <a:r>
              <a:rPr lang="en-US" altLang="ko-KR" sz="1400" dirty="0"/>
              <a:t>17</a:t>
            </a:r>
            <a:r>
              <a:rPr lang="ko-KR" altLang="en-US" sz="1400" dirty="0"/>
              <a:t>개 </a:t>
            </a:r>
            <a:r>
              <a:rPr lang="ko-KR" altLang="en-US" sz="1400" dirty="0" err="1"/>
              <a:t>회원사로</a:t>
            </a:r>
            <a:r>
              <a:rPr lang="ko-KR" altLang="en-US" sz="1400" dirty="0"/>
              <a:t> 시작해 현재 </a:t>
            </a:r>
            <a:r>
              <a:rPr lang="en-US" altLang="ko-KR" sz="1400" dirty="0"/>
              <a:t>150</a:t>
            </a:r>
            <a:r>
              <a:rPr lang="ko-KR" altLang="en-US" sz="1400" dirty="0"/>
              <a:t>개 </a:t>
            </a:r>
            <a:r>
              <a:rPr lang="ko-KR" altLang="en-US" sz="1400" dirty="0" err="1"/>
              <a:t>회원사가</a:t>
            </a:r>
            <a:r>
              <a:rPr lang="ko-KR" altLang="en-US" sz="1400" dirty="0"/>
              <a:t> 참여하고 있음</a:t>
            </a:r>
            <a:endParaRPr lang="en-US" altLang="ko-KR" sz="1400" dirty="0"/>
          </a:p>
          <a:p>
            <a:pPr>
              <a:lnSpc>
                <a:spcPct val="120000"/>
              </a:lnSpc>
            </a:pPr>
            <a:r>
              <a:rPr lang="en-US" altLang="ko-KR" sz="1400" dirty="0"/>
              <a:t>  - </a:t>
            </a:r>
            <a:r>
              <a:rPr lang="ko-KR" altLang="en-US" sz="1400" dirty="0"/>
              <a:t>전세계적으로 비즈니스 거래가 수행되는 방식을 변혁할 수 있는 분산 원장에 대한 산업 표준에 </a:t>
            </a:r>
            <a:endParaRPr lang="en-US" altLang="ko-KR" sz="1400" dirty="0"/>
          </a:p>
          <a:p>
            <a:pPr>
              <a:lnSpc>
                <a:spcPct val="120000"/>
              </a:lnSpc>
            </a:pPr>
            <a:r>
              <a:rPr lang="en-US" altLang="ko-KR" sz="1400" dirty="0"/>
              <a:t>     </a:t>
            </a:r>
            <a:r>
              <a:rPr lang="ko-KR" altLang="en-US" sz="1400" dirty="0"/>
              <a:t>중요한 기능들을 확인하고 적용해 블록체인을 발전시키는 협력 프로젝트</a:t>
            </a:r>
            <a:endParaRPr lang="en-US" altLang="ko-KR" sz="1400" dirty="0"/>
          </a:p>
          <a:p>
            <a:pPr>
              <a:lnSpc>
                <a:spcPct val="120000"/>
              </a:lnSpc>
            </a:pPr>
            <a:r>
              <a:rPr lang="en-US" altLang="ko-KR" sz="1400" dirty="0"/>
              <a:t>  - </a:t>
            </a:r>
            <a:r>
              <a:rPr lang="ko-KR" altLang="en-US" sz="1400" dirty="0"/>
              <a:t>프로젝트 </a:t>
            </a:r>
            <a:r>
              <a:rPr lang="en-US" altLang="ko-KR" sz="1400" dirty="0"/>
              <a:t>: Frameworks(Fabric, </a:t>
            </a:r>
            <a:r>
              <a:rPr lang="en-US" altLang="ko-KR" sz="1400" dirty="0" err="1"/>
              <a:t>Iroha</a:t>
            </a:r>
            <a:r>
              <a:rPr lang="en-US" altLang="ko-KR" sz="1400" dirty="0"/>
              <a:t>, </a:t>
            </a:r>
            <a:r>
              <a:rPr lang="en-US" altLang="ko-KR" sz="1400" dirty="0" err="1"/>
              <a:t>Sawtooth</a:t>
            </a:r>
            <a:r>
              <a:rPr lang="en-US" altLang="ko-KR" sz="1400" dirty="0"/>
              <a:t>, Burrow, Indy), </a:t>
            </a:r>
          </a:p>
          <a:p>
            <a:pPr>
              <a:lnSpc>
                <a:spcPct val="120000"/>
              </a:lnSpc>
            </a:pPr>
            <a:r>
              <a:rPr lang="en-US" altLang="ko-KR" sz="1400" dirty="0"/>
              <a:t>                  Modules(Cello, Composer, Explorer, Quilt)</a:t>
            </a:r>
          </a:p>
        </p:txBody>
      </p:sp>
    </p:spTree>
    <p:extLst>
      <p:ext uri="{BB962C8B-B14F-4D97-AF65-F5344CB8AC3E}">
        <p14:creationId xmlns:p14="http://schemas.microsoft.com/office/powerpoint/2010/main" val="42171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20056" y="188640"/>
            <a:ext cx="878497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b="1" dirty="0" smtClean="0"/>
              <a:t>3. </a:t>
            </a:r>
            <a:r>
              <a:rPr lang="en-US" altLang="ko-KR" b="1" dirty="0" err="1" smtClean="0"/>
              <a:t>Hyperledger</a:t>
            </a:r>
            <a:r>
              <a:rPr lang="en-US" altLang="ko-KR" b="1" dirty="0" smtClean="0"/>
              <a:t> Fabric</a:t>
            </a:r>
            <a:endParaRPr lang="ko-KR" altLang="en-US" b="1" dirty="0"/>
          </a:p>
        </p:txBody>
      </p:sp>
      <p:sp>
        <p:nvSpPr>
          <p:cNvPr id="8" name="직사각형 7"/>
          <p:cNvSpPr/>
          <p:nvPr/>
        </p:nvSpPr>
        <p:spPr>
          <a:xfrm>
            <a:off x="864072" y="692696"/>
            <a:ext cx="84969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600" dirty="0"/>
              <a:t>■ </a:t>
            </a:r>
            <a:r>
              <a:rPr lang="en-US" altLang="ko-KR" sz="1600" b="1" dirty="0" err="1"/>
              <a:t>Hyperledger</a:t>
            </a:r>
            <a:r>
              <a:rPr lang="en-US" altLang="ko-KR" sz="1600" b="1" dirty="0"/>
              <a:t> Fabric </a:t>
            </a:r>
            <a:r>
              <a:rPr lang="ko-KR" altLang="en-US" sz="1600" b="1" dirty="0"/>
              <a:t>트랜잭션 흐름</a:t>
            </a:r>
            <a:endParaRPr lang="en-US" altLang="ko-KR" sz="1600" b="1" dirty="0"/>
          </a:p>
        </p:txBody>
      </p:sp>
      <p:pic>
        <p:nvPicPr>
          <p:cNvPr id="2" name="Picture 2" descr="\\Client\C$\Users\s0wnd\Desktop\스크린샷 2018-03-17 오후 9.31.49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112" y="1069753"/>
            <a:ext cx="7272808" cy="3619291"/>
          </a:xfrm>
          <a:prstGeom prst="rect">
            <a:avLst/>
          </a:prstGeom>
          <a:noFill/>
          <a:ln w="63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36080" y="4788532"/>
            <a:ext cx="8398966" cy="19020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1. </a:t>
            </a:r>
            <a:r>
              <a:rPr lang="ko-KR" altLang="en-US" sz="1400" dirty="0">
                <a:latin typeface="+mn-ea"/>
              </a:rPr>
              <a:t>최초 </a:t>
            </a:r>
            <a:r>
              <a:rPr lang="en-US" altLang="ko-KR" sz="1400" dirty="0" err="1">
                <a:latin typeface="+mn-ea"/>
              </a:rPr>
              <a:t>Client가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블록체인에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트랜잭션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수행을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위한</a:t>
            </a:r>
            <a:r>
              <a:rPr lang="en-US" altLang="ko-KR" sz="1400" dirty="0">
                <a:latin typeface="+mn-ea"/>
              </a:rPr>
              <a:t> Proposal</a:t>
            </a: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2. </a:t>
            </a:r>
            <a:r>
              <a:rPr lang="en-US" altLang="ko-KR" sz="1400" dirty="0" err="1">
                <a:latin typeface="+mn-ea"/>
              </a:rPr>
              <a:t>Proposal은</a:t>
            </a:r>
            <a:r>
              <a:rPr lang="en-US" altLang="ko-KR" sz="1400" dirty="0">
                <a:latin typeface="+mn-ea"/>
              </a:rPr>
              <a:t> Endorse </a:t>
            </a:r>
            <a:r>
              <a:rPr lang="en-US" altLang="ko-KR" sz="1400" dirty="0" err="1">
                <a:latin typeface="+mn-ea"/>
              </a:rPr>
              <a:t>Peer에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수행</a:t>
            </a:r>
            <a:endParaRPr lang="en-US" altLang="ko-KR" sz="1400" dirty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3. </a:t>
            </a:r>
            <a:r>
              <a:rPr lang="en-US" altLang="ko-KR" sz="1400" dirty="0" err="1">
                <a:latin typeface="+mn-ea"/>
              </a:rPr>
              <a:t>Endorser들은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Proposal을</a:t>
            </a:r>
            <a:r>
              <a:rPr lang="en-US" altLang="ko-KR" sz="1400" dirty="0">
                <a:latin typeface="+mn-ea"/>
              </a:rPr>
              <a:t> endorsement </a:t>
            </a:r>
            <a:r>
              <a:rPr lang="en-US" altLang="ko-KR" sz="1400" dirty="0" err="1">
                <a:latin typeface="+mn-ea"/>
              </a:rPr>
              <a:t>policy에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의거해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Validate하여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서명을</a:t>
            </a:r>
            <a:r>
              <a:rPr lang="en-US" altLang="ko-KR" sz="1400" dirty="0">
                <a:latin typeface="+mn-ea"/>
              </a:rPr>
              <a:t> 한 뒤 </a:t>
            </a: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   Proposal </a:t>
            </a:r>
            <a:r>
              <a:rPr lang="en-US" altLang="ko-KR" sz="1400" dirty="0" err="1">
                <a:latin typeface="+mn-ea"/>
              </a:rPr>
              <a:t>response를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Client에게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보냄</a:t>
            </a:r>
            <a:endParaRPr lang="en-US" altLang="ko-KR" sz="1400" dirty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4. </a:t>
            </a:r>
            <a:r>
              <a:rPr lang="ko-KR" altLang="en-US" sz="1400" dirty="0">
                <a:latin typeface="+mn-ea"/>
              </a:rPr>
              <a:t>서명된 </a:t>
            </a:r>
            <a:r>
              <a:rPr lang="en-US" altLang="ko-KR" sz="1400" dirty="0">
                <a:latin typeface="+mn-ea"/>
              </a:rPr>
              <a:t>proposal </a:t>
            </a:r>
            <a:r>
              <a:rPr lang="en-US" altLang="ko-KR" sz="1400" dirty="0" err="1">
                <a:latin typeface="+mn-ea"/>
              </a:rPr>
              <a:t>response를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받은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Client는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트랜잭션을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수행</a:t>
            </a:r>
            <a:endParaRPr lang="en-US" altLang="ko-KR" sz="1400" dirty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5. </a:t>
            </a:r>
            <a:r>
              <a:rPr lang="ko-KR" altLang="en-US" sz="1400" dirty="0">
                <a:latin typeface="+mn-ea"/>
              </a:rPr>
              <a:t>트랜잭션은 모든 채널에 대해서 </a:t>
            </a:r>
            <a:r>
              <a:rPr lang="en-US" altLang="ko-KR" sz="1400" dirty="0" err="1">
                <a:latin typeface="+mn-ea"/>
              </a:rPr>
              <a:t>Orderer가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받아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트랜잭션의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순서대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정렬</a:t>
            </a:r>
            <a:endParaRPr lang="en-US" altLang="ko-KR" sz="1400" dirty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>
                <a:latin typeface="+mn-ea"/>
              </a:rPr>
              <a:t>6. </a:t>
            </a:r>
            <a:r>
              <a:rPr lang="en-US" altLang="ko-KR" sz="1400" dirty="0" err="1">
                <a:latin typeface="+mn-ea"/>
              </a:rPr>
              <a:t>Orderer에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의해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정렬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트랜잭션은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해당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채널을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통해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다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Peer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보내져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최종적으로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원장에</a:t>
            </a:r>
            <a:r>
              <a:rPr lang="en-US" altLang="ko-KR" sz="1400" dirty="0">
                <a:latin typeface="+mn-ea"/>
              </a:rPr>
              <a:t> </a:t>
            </a:r>
            <a:r>
              <a:rPr lang="en-US" altLang="ko-KR" sz="1400" dirty="0" err="1">
                <a:latin typeface="+mn-ea"/>
              </a:rPr>
              <a:t>저장</a:t>
            </a:r>
            <a:endParaRPr lang="ko-KR" altLang="en-US" sz="14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77890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모서리가 둥근 직사각형 2"/>
          <p:cNvSpPr/>
          <p:nvPr/>
        </p:nvSpPr>
        <p:spPr>
          <a:xfrm>
            <a:off x="2414740" y="1988840"/>
            <a:ext cx="5400600" cy="288032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B-</a:t>
            </a:r>
            <a:r>
              <a:rPr lang="ko-KR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쿠폰 </a:t>
            </a:r>
            <a:r>
              <a:rPr lang="en-US" altLang="ko-KR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BM</a:t>
            </a:r>
            <a:endParaRPr lang="ko-KR" altLang="en-US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05350105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직사각형 123"/>
          <p:cNvSpPr/>
          <p:nvPr/>
        </p:nvSpPr>
        <p:spPr>
          <a:xfrm>
            <a:off x="5365784" y="1374842"/>
            <a:ext cx="4100008" cy="328584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 </a:t>
            </a:r>
            <a:r>
              <a:rPr lang="en-US" altLang="ko-KR" dirty="0" smtClean="0"/>
              <a:t>BM_</a:t>
            </a:r>
            <a:r>
              <a:rPr lang="ko-KR" altLang="en-US" dirty="0" smtClean="0"/>
              <a:t>기본 개념 및 방향성</a:t>
            </a:r>
            <a:endParaRPr lang="ko-KR" altLang="en-US" dirty="0"/>
          </a:p>
        </p:txBody>
      </p:sp>
      <p:sp>
        <p:nvSpPr>
          <p:cNvPr id="46" name="이등변 삼각형 45"/>
          <p:cNvSpPr/>
          <p:nvPr/>
        </p:nvSpPr>
        <p:spPr>
          <a:xfrm rot="16200000" flipV="1">
            <a:off x="3494984" y="3675611"/>
            <a:ext cx="3184276" cy="25346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txBody>
          <a:bodyPr wrap="none" rtlCol="0" anchor="ctr"/>
          <a:lstStyle/>
          <a:p>
            <a:pPr marL="85725" indent="-85725" algn="ctr" latinLnBrk="0">
              <a:tabLst>
                <a:tab pos="180975" algn="l"/>
              </a:tabLst>
            </a:pPr>
            <a:endParaRPr kumimoji="0" lang="ko-KR" altLang="en-US" sz="1400" b="1" smtClean="0">
              <a:solidFill>
                <a:srgbClr val="000000"/>
              </a:solidFill>
              <a:latin typeface="Times New Roman" pitchFamily="18" charset="0"/>
              <a:ea typeface="맑은 고딕" pitchFamily="50" charset="-127"/>
              <a:cs typeface="Times New Roman" pitchFamily="18" charset="0"/>
              <a:sym typeface="Wingdings" pitchFamily="2" charset="2"/>
            </a:endParaRPr>
          </a:p>
        </p:txBody>
      </p:sp>
      <p:sp>
        <p:nvSpPr>
          <p:cNvPr id="61" name="TextBox 60"/>
          <p:cNvSpPr txBox="1"/>
          <p:nvPr/>
        </p:nvSpPr>
        <p:spPr bwMode="auto">
          <a:xfrm>
            <a:off x="6329189" y="1218018"/>
            <a:ext cx="2196244" cy="29238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45718" rIns="0" bIns="45718" rtlCol="0" anchor="ctr">
            <a:spAutoFit/>
          </a:bodyPr>
          <a:lstStyle/>
          <a:p>
            <a:pPr algn="ctr" eaLnBrk="0" hangingPunct="0">
              <a:tabLst>
                <a:tab pos="4503738" algn="ctr"/>
                <a:tab pos="9326563" algn="r"/>
              </a:tabLst>
            </a:pPr>
            <a:r>
              <a:rPr lang="en-US" altLang="ko-KR" sz="1300" b="1" dirty="0" smtClean="0">
                <a:solidFill>
                  <a:srgbClr val="000000"/>
                </a:solidFill>
                <a:latin typeface="+mj-ea"/>
                <a:ea typeface="+mj-ea"/>
                <a:cs typeface="Times New Roman" pitchFamily="18" charset="0"/>
              </a:rPr>
              <a:t>【 TO BE </a:t>
            </a:r>
            <a:r>
              <a:rPr lang="ko-KR" altLang="en-US" sz="1300" b="1" dirty="0" smtClean="0">
                <a:solidFill>
                  <a:srgbClr val="000000"/>
                </a:solidFill>
                <a:latin typeface="+mj-ea"/>
                <a:ea typeface="+mj-ea"/>
                <a:cs typeface="Times New Roman" pitchFamily="18" charset="0"/>
              </a:rPr>
              <a:t>블록체인 환경 </a:t>
            </a:r>
            <a:r>
              <a:rPr lang="en-US" altLang="ko-KR" sz="1300" b="1" dirty="0" smtClean="0">
                <a:solidFill>
                  <a:srgbClr val="000000"/>
                </a:solidFill>
                <a:latin typeface="+mj-ea"/>
                <a:ea typeface="+mj-ea"/>
                <a:cs typeface="Times New Roman" pitchFamily="18" charset="0"/>
              </a:rPr>
              <a:t>】</a:t>
            </a:r>
            <a:endParaRPr lang="ko-KR" altLang="en-US" sz="1300" b="1" dirty="0">
              <a:solidFill>
                <a:srgbClr val="000000"/>
              </a:solidFill>
              <a:latin typeface="+mj-ea"/>
              <a:ea typeface="+mj-ea"/>
              <a:cs typeface="Times New Roman" pitchFamily="18" charset="0"/>
            </a:endParaRPr>
          </a:p>
        </p:txBody>
      </p:sp>
      <p:sp>
        <p:nvSpPr>
          <p:cNvPr id="64" name="Rectangle 3"/>
          <p:cNvSpPr/>
          <p:nvPr/>
        </p:nvSpPr>
        <p:spPr>
          <a:xfrm>
            <a:off x="1330524" y="3911790"/>
            <a:ext cx="2709482" cy="727626"/>
          </a:xfrm>
          <a:prstGeom prst="rect">
            <a:avLst/>
          </a:prstGeom>
          <a:noFill/>
          <a:ln w="3175">
            <a:noFill/>
            <a:prstDash val="sysDot"/>
          </a:ln>
        </p:spPr>
        <p:txBody>
          <a:bodyPr wrap="square" lIns="72000" tIns="72000" rIns="72000" bIns="72000" anchor="ctr" anchorCtr="0">
            <a:noAutofit/>
          </a:bodyPr>
          <a:lstStyle/>
          <a:p>
            <a:pPr marL="171450" indent="-171450" latinLnBrk="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altLang="ko-KR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SKT</a:t>
            </a:r>
            <a:r>
              <a:rPr lang="ko-KR" altLang="en-US" sz="1200" b="1" dirty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집중형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 </a:t>
            </a:r>
            <a:r>
              <a:rPr lang="en-US" altLang="ko-KR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1:1 Central 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네트워크</a:t>
            </a:r>
            <a:endParaRPr lang="en-US" altLang="ko-KR" sz="1200" b="1" dirty="0" smtClean="0">
              <a:solidFill>
                <a:prstClr val="black"/>
              </a:solidFill>
              <a:latin typeface="+mj-ea"/>
              <a:ea typeface="+mj-ea"/>
              <a:cs typeface="Times New Roman" panose="02020603050405020304" pitchFamily="18" charset="0"/>
            </a:endParaRPr>
          </a:p>
          <a:p>
            <a:pPr marL="171450" indent="-171450" latinLnBrk="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수동식 쿠폰 발급 및 적용</a:t>
            </a:r>
            <a:endParaRPr lang="en-US" altLang="ko-KR" sz="1200" b="1" dirty="0" smtClean="0">
              <a:solidFill>
                <a:prstClr val="black"/>
              </a:solidFill>
              <a:latin typeface="+mj-ea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68322" y="1374842"/>
            <a:ext cx="4100008" cy="328584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1815414" y="1228650"/>
            <a:ext cx="1784962" cy="29238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45718" rIns="0" bIns="45718" rtlCol="0" anchor="ctr">
            <a:spAutoFit/>
          </a:bodyPr>
          <a:lstStyle/>
          <a:p>
            <a:pPr algn="ctr" eaLnBrk="0" hangingPunct="0">
              <a:tabLst>
                <a:tab pos="4503738" algn="ctr"/>
                <a:tab pos="9326563" algn="r"/>
              </a:tabLst>
            </a:pPr>
            <a:r>
              <a:rPr lang="en-US" altLang="ko-KR" sz="1300" b="1" dirty="0" smtClean="0">
                <a:solidFill>
                  <a:srgbClr val="000000"/>
                </a:solidFill>
                <a:latin typeface="+mj-ea"/>
                <a:ea typeface="+mj-ea"/>
                <a:cs typeface="Times New Roman" pitchFamily="18" charset="0"/>
              </a:rPr>
              <a:t>【 AS IS</a:t>
            </a:r>
            <a:r>
              <a:rPr lang="ko-KR" altLang="en-US" sz="1300" b="1" dirty="0" smtClean="0">
                <a:solidFill>
                  <a:srgbClr val="000000"/>
                </a:solidFill>
                <a:latin typeface="+mj-ea"/>
                <a:ea typeface="+mj-ea"/>
                <a:cs typeface="Times New Roman" pitchFamily="18" charset="0"/>
              </a:rPr>
              <a:t> 업무 환경 </a:t>
            </a:r>
            <a:r>
              <a:rPr lang="en-US" altLang="ko-KR" sz="1300" b="1" dirty="0" smtClean="0">
                <a:solidFill>
                  <a:srgbClr val="000000"/>
                </a:solidFill>
                <a:latin typeface="+mj-ea"/>
                <a:ea typeface="+mj-ea"/>
                <a:cs typeface="Times New Roman" pitchFamily="18" charset="0"/>
              </a:rPr>
              <a:t>】</a:t>
            </a:r>
            <a:endParaRPr lang="ko-KR" altLang="en-US" sz="1300" b="1" dirty="0">
              <a:solidFill>
                <a:srgbClr val="000000"/>
              </a:solidFill>
              <a:latin typeface="+mj-ea"/>
              <a:ea typeface="+mj-ea"/>
              <a:cs typeface="Times New Roman" pitchFamily="18" charset="0"/>
            </a:endParaRPr>
          </a:p>
        </p:txBody>
      </p:sp>
      <p:sp>
        <p:nvSpPr>
          <p:cNvPr id="179" name="직사각형 5"/>
          <p:cNvSpPr>
            <a:spLocks noChangeArrowheads="1"/>
          </p:cNvSpPr>
          <p:nvPr/>
        </p:nvSpPr>
        <p:spPr bwMode="auto">
          <a:xfrm>
            <a:off x="668322" y="561758"/>
            <a:ext cx="8883336" cy="632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0" bIns="3600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T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 쿠폰의 발급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의 비효율적 환경으로 마케팅 제약이 많고 정확도와 신속성이 떨어짐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T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제휴사간 네트워크에 블록체인 환경을 도입하여 제휴 프로세스 혁신 및 업무 효율화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0" name="직사각형 179"/>
          <p:cNvSpPr/>
          <p:nvPr/>
        </p:nvSpPr>
        <p:spPr>
          <a:xfrm>
            <a:off x="668322" y="4725145"/>
            <a:ext cx="627798" cy="17677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Pain</a:t>
            </a:r>
          </a:p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Point</a:t>
            </a:r>
            <a:endParaRPr lang="ko-KR" alt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182" name="직사각형 181"/>
          <p:cNvSpPr/>
          <p:nvPr/>
        </p:nvSpPr>
        <p:spPr>
          <a:xfrm>
            <a:off x="5348842" y="4725145"/>
            <a:ext cx="627798" cy="17677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Value</a:t>
            </a:r>
          </a:p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Point</a:t>
            </a:r>
            <a:endParaRPr lang="ko-KR" alt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183" name="직사각형 182"/>
          <p:cNvSpPr/>
          <p:nvPr/>
        </p:nvSpPr>
        <p:spPr>
          <a:xfrm>
            <a:off x="6048648" y="4725145"/>
            <a:ext cx="3400201" cy="17677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쿠폰 발행 가능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마케팅 신속성 증대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발행 쿠폰의 다수 제휴사간 호환으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프로모션 가능 및 유연성 확보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쿠폰 사용시 실시간 사용 이력 확인 가능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시간 실적</a:t>
            </a:r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공유로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처리 신속성</a:t>
            </a:r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쿠폰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산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의 </a:t>
            </a:r>
            <a:r>
              <a:rPr lang="ko-KR" altLang="en-US" sz="1200" b="1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위변조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불가로 </a:t>
            </a:r>
            <a:r>
              <a:rPr lang="ko-KR" altLang="en-US" sz="1200" b="1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보안성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</a:p>
          <a:p>
            <a:r>
              <a:rPr lang="en-US" altLang="ko-KR" sz="1200" b="1" u="sng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투명성 강화 및  </a:t>
            </a:r>
            <a:r>
              <a:rPr lang="ko-KR" altLang="en-US" sz="1200" b="1" u="sng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신뢰 확보</a:t>
            </a:r>
            <a:endParaRPr lang="en-US" altLang="ko-KR" sz="1200" b="1" u="sng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9" name="Rectangle 3"/>
          <p:cNvSpPr/>
          <p:nvPr/>
        </p:nvSpPr>
        <p:spPr>
          <a:xfrm>
            <a:off x="5997444" y="3901157"/>
            <a:ext cx="2931524" cy="727626"/>
          </a:xfrm>
          <a:prstGeom prst="rect">
            <a:avLst/>
          </a:prstGeom>
          <a:noFill/>
          <a:ln w="3175">
            <a:noFill/>
            <a:prstDash val="sysDot"/>
          </a:ln>
        </p:spPr>
        <p:txBody>
          <a:bodyPr wrap="square" lIns="72000" tIns="72000" rIns="72000" bIns="72000" anchor="ctr" anchorCtr="0">
            <a:noAutofit/>
          </a:bodyPr>
          <a:lstStyle/>
          <a:p>
            <a:pPr marL="171450" indent="-171450" latinLnBrk="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 err="1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탈중앙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 다자간 </a:t>
            </a:r>
            <a:r>
              <a:rPr lang="en-US" altLang="ko-KR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Distribute 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네트워크</a:t>
            </a:r>
            <a:endParaRPr lang="en-US" altLang="ko-KR" sz="1200" b="1" dirty="0" smtClean="0">
              <a:solidFill>
                <a:prstClr val="black"/>
              </a:solidFill>
              <a:latin typeface="+mj-ea"/>
              <a:ea typeface="+mj-ea"/>
              <a:cs typeface="Times New Roman" panose="02020603050405020304" pitchFamily="18" charset="0"/>
            </a:endParaRPr>
          </a:p>
          <a:p>
            <a:pPr marL="171450" indent="-171450" latinLnBrk="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분산원장 방식으로 실시간 자동화</a:t>
            </a:r>
            <a:endParaRPr lang="en-US" altLang="ko-KR" sz="1200" b="1" dirty="0" smtClean="0">
              <a:solidFill>
                <a:prstClr val="black"/>
              </a:solidFill>
              <a:latin typeface="+mj-ea"/>
              <a:ea typeface="+mj-ea"/>
              <a:cs typeface="Times New Roman" panose="02020603050405020304" pitchFamily="18" charset="0"/>
            </a:endParaRPr>
          </a:p>
          <a:p>
            <a:pPr marL="171450" indent="-171450" latinLnBrk="0">
              <a:lnSpc>
                <a:spcPct val="11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쿠폰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난수</a:t>
            </a:r>
            <a:r>
              <a:rPr lang="ko-KR" altLang="en-US" sz="1200" b="1" dirty="0" smtClean="0">
                <a:solidFill>
                  <a:prstClr val="black"/>
                </a:solidFill>
                <a:latin typeface="+mj-ea"/>
                <a:ea typeface="+mj-ea"/>
                <a:cs typeface="Times New Roman" panose="02020603050405020304" pitchFamily="18" charset="0"/>
              </a:rPr>
              <a:t> 번호 형식 통일</a:t>
            </a:r>
            <a:endParaRPr lang="en-US" altLang="ko-KR" sz="1200" b="1" dirty="0" smtClean="0">
              <a:solidFill>
                <a:prstClr val="black"/>
              </a:solidFill>
              <a:latin typeface="+mj-ea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213" name="직사각형 212"/>
          <p:cNvSpPr/>
          <p:nvPr/>
        </p:nvSpPr>
        <p:spPr>
          <a:xfrm>
            <a:off x="1368129" y="4725145"/>
            <a:ext cx="3400201" cy="176773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쿠폰 수동 입력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업무 지연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휴먼 에러 발생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휴사별 쿠폰 형식 차이</a:t>
            </a:r>
            <a:r>
              <a:rPr lang="ko-KR" altLang="en-US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로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호환 불가하여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휴사별 단독 쿠폰 발행 필요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130</a:t>
            </a:r>
            <a:r>
              <a:rPr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여개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시스템과 실시간</a:t>
            </a:r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동 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발 어려움</a:t>
            </a:r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쿠폰사용이력 확인 제약 多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endParaRPr lang="en-US" altLang="ko-KR" sz="5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SKT</a:t>
            </a:r>
            <a:r>
              <a:rPr lang="ko-KR" altLang="en-US" sz="12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와 제휴사간 정산 데이터 비교 작업 필요</a:t>
            </a:r>
            <a:endParaRPr lang="en-US" altLang="ko-KR" sz="12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21883" y="2278239"/>
            <a:ext cx="4411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쿠폰</a:t>
            </a:r>
            <a:endParaRPr lang="en-US" altLang="ko-KR" sz="1000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발행</a:t>
            </a:r>
          </a:p>
        </p:txBody>
      </p:sp>
      <p:cxnSp>
        <p:nvCxnSpPr>
          <p:cNvPr id="23" name="직선 화살표 연결선 22"/>
          <p:cNvCxnSpPr/>
          <p:nvPr/>
        </p:nvCxnSpPr>
        <p:spPr>
          <a:xfrm>
            <a:off x="2088946" y="2481207"/>
            <a:ext cx="12960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/>
          <p:cNvSpPr txBox="1"/>
          <p:nvPr/>
        </p:nvSpPr>
        <p:spPr>
          <a:xfrm>
            <a:off x="2287254" y="2238130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쿠폰 리스트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3291816" y="2715033"/>
            <a:ext cx="4411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쿠폰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발행</a:t>
            </a:r>
          </a:p>
        </p:txBody>
      </p:sp>
      <p:cxnSp>
        <p:nvCxnSpPr>
          <p:cNvPr id="120" name="직선 화살표 연결선 119"/>
          <p:cNvCxnSpPr/>
          <p:nvPr/>
        </p:nvCxnSpPr>
        <p:spPr>
          <a:xfrm>
            <a:off x="2088946" y="2900741"/>
            <a:ext cx="12960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731329" y="2711319"/>
            <a:ext cx="4411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수동</a:t>
            </a:r>
            <a:endParaRPr lang="en-US" altLang="ko-KR" sz="1000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입력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3303246" y="2263684"/>
            <a:ext cx="4411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수동</a:t>
            </a:r>
            <a:endParaRPr lang="en-US" altLang="ko-KR" sz="1000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입력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275494" y="2860228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쿠폰 리스트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타원 126"/>
          <p:cNvSpPr/>
          <p:nvPr/>
        </p:nvSpPr>
        <p:spPr>
          <a:xfrm>
            <a:off x="864072" y="2280603"/>
            <a:ext cx="900000" cy="900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SKT</a:t>
            </a:r>
            <a:endParaRPr lang="ko-KR" altLang="en-US" sz="1200" b="1" dirty="0" smtClean="0">
              <a:solidFill>
                <a:schemeClr val="tx1"/>
              </a:solidFill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3650336" y="1543489"/>
            <a:ext cx="797013" cy="684000"/>
            <a:chOff x="3650336" y="1556792"/>
            <a:chExt cx="797013" cy="684000"/>
          </a:xfrm>
        </p:grpSpPr>
        <p:sp>
          <p:nvSpPr>
            <p:cNvPr id="128" name="타원 127"/>
            <p:cNvSpPr/>
            <p:nvPr/>
          </p:nvSpPr>
          <p:spPr>
            <a:xfrm>
              <a:off x="3698006" y="1556792"/>
              <a:ext cx="684000" cy="68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650336" y="1711441"/>
              <a:ext cx="797013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000" b="1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en-US" altLang="ko-KR" sz="1000" b="1" dirty="0" smtClean="0"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900" dirty="0" smtClean="0">
                  <a:latin typeface="맑은 고딕" pitchFamily="50" charset="-127"/>
                  <a:ea typeface="맑은 고딕" pitchFamily="50" charset="-127"/>
                </a:rPr>
                <a:t>영문</a:t>
              </a:r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+</a:t>
              </a:r>
              <a:r>
                <a:rPr lang="ko-KR" altLang="en-US" sz="900" dirty="0" smtClean="0">
                  <a:latin typeface="맑은 고딕" pitchFamily="50" charset="-127"/>
                  <a:ea typeface="맑은 고딕" pitchFamily="50" charset="-127"/>
                </a:rPr>
                <a:t>숫자</a:t>
              </a:r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90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15" name="그룹 214"/>
          <p:cNvGrpSpPr/>
          <p:nvPr/>
        </p:nvGrpSpPr>
        <p:grpSpPr>
          <a:xfrm>
            <a:off x="3606254" y="2339469"/>
            <a:ext cx="885179" cy="684000"/>
            <a:chOff x="3606254" y="1556792"/>
            <a:chExt cx="885179" cy="684000"/>
          </a:xfrm>
        </p:grpSpPr>
        <p:sp>
          <p:nvSpPr>
            <p:cNvPr id="216" name="타원 215"/>
            <p:cNvSpPr/>
            <p:nvPr/>
          </p:nvSpPr>
          <p:spPr>
            <a:xfrm>
              <a:off x="3698006" y="1556792"/>
              <a:ext cx="684000" cy="68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7" name="TextBox 216"/>
            <p:cNvSpPr txBox="1"/>
            <p:nvPr/>
          </p:nvSpPr>
          <p:spPr>
            <a:xfrm>
              <a:off x="3606254" y="1711441"/>
              <a:ext cx="885179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000" b="1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en-US" altLang="ko-KR" sz="1000" b="1" dirty="0" smtClean="0"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900" dirty="0" smtClean="0">
                  <a:latin typeface="맑은 고딕" pitchFamily="50" charset="-127"/>
                  <a:ea typeface="맑은 고딕" pitchFamily="50" charset="-127"/>
                </a:rPr>
                <a:t>숫자 </a:t>
              </a:r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10</a:t>
              </a:r>
              <a:r>
                <a:rPr lang="ko-KR" altLang="en-US" sz="900" dirty="0" smtClean="0">
                  <a:latin typeface="맑은 고딕" pitchFamily="50" charset="-127"/>
                  <a:ea typeface="맑은 고딕" pitchFamily="50" charset="-127"/>
                </a:rPr>
                <a:t>자리</a:t>
              </a:r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90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18" name="그룹 217"/>
          <p:cNvGrpSpPr/>
          <p:nvPr/>
        </p:nvGrpSpPr>
        <p:grpSpPr>
          <a:xfrm>
            <a:off x="3638314" y="3105040"/>
            <a:ext cx="821059" cy="684000"/>
            <a:chOff x="3638314" y="1556792"/>
            <a:chExt cx="821059" cy="684000"/>
          </a:xfrm>
        </p:grpSpPr>
        <p:sp>
          <p:nvSpPr>
            <p:cNvPr id="219" name="타원 218"/>
            <p:cNvSpPr/>
            <p:nvPr/>
          </p:nvSpPr>
          <p:spPr>
            <a:xfrm>
              <a:off x="3698006" y="1556792"/>
              <a:ext cx="684000" cy="684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638314" y="1711441"/>
              <a:ext cx="821059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000" b="1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en-US" altLang="ko-KR" sz="1000" b="1" dirty="0" smtClean="0"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900" dirty="0" smtClean="0">
                  <a:latin typeface="맑은 고딕" pitchFamily="50" charset="-127"/>
                  <a:ea typeface="맑은 고딕" pitchFamily="50" charset="-127"/>
                </a:rPr>
                <a:t>숫자 </a:t>
              </a:r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8</a:t>
              </a:r>
              <a:r>
                <a:rPr lang="ko-KR" altLang="en-US" sz="900" dirty="0" smtClean="0">
                  <a:latin typeface="맑은 고딕" pitchFamily="50" charset="-127"/>
                  <a:ea typeface="맑은 고딕" pitchFamily="50" charset="-127"/>
                </a:rPr>
                <a:t>자리</a:t>
              </a:r>
              <a:r>
                <a:rPr lang="en-US" altLang="ko-KR" sz="900" dirty="0" smtClean="0"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90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38" name="직선 화살표 연결선 37"/>
          <p:cNvCxnSpPr/>
          <p:nvPr/>
        </p:nvCxnSpPr>
        <p:spPr>
          <a:xfrm flipV="1">
            <a:off x="6453491" y="2001541"/>
            <a:ext cx="535280" cy="441056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직선 화살표 연결선 233"/>
          <p:cNvCxnSpPr/>
          <p:nvPr/>
        </p:nvCxnSpPr>
        <p:spPr>
          <a:xfrm flipV="1">
            <a:off x="7706024" y="2949442"/>
            <a:ext cx="535280" cy="441056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/>
          <p:cNvCxnSpPr/>
          <p:nvPr/>
        </p:nvCxnSpPr>
        <p:spPr>
          <a:xfrm>
            <a:off x="7672771" y="2031009"/>
            <a:ext cx="557900" cy="414095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직선 화살표 연결선 234"/>
          <p:cNvCxnSpPr/>
          <p:nvPr/>
        </p:nvCxnSpPr>
        <p:spPr>
          <a:xfrm>
            <a:off x="6441504" y="2978134"/>
            <a:ext cx="557900" cy="414095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 flipV="1">
            <a:off x="6565839" y="2705694"/>
            <a:ext cx="1611667" cy="501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/>
          <p:nvPr/>
        </p:nvCxnSpPr>
        <p:spPr>
          <a:xfrm>
            <a:off x="7362670" y="2228139"/>
            <a:ext cx="0" cy="90637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타원 231"/>
          <p:cNvSpPr/>
          <p:nvPr/>
        </p:nvSpPr>
        <p:spPr>
          <a:xfrm>
            <a:off x="6999404" y="1533506"/>
            <a:ext cx="684000" cy="684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6951735" y="1524893"/>
            <a:ext cx="79701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SKT</a:t>
            </a:r>
          </a:p>
          <a:p>
            <a:pPr algn="ctr"/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영문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+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숫자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90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48" name="그룹 247"/>
          <p:cNvGrpSpPr/>
          <p:nvPr/>
        </p:nvGrpSpPr>
        <p:grpSpPr>
          <a:xfrm>
            <a:off x="7124525" y="1875292"/>
            <a:ext cx="536825" cy="377870"/>
            <a:chOff x="8065944" y="1814670"/>
            <a:chExt cx="536825" cy="377870"/>
          </a:xfrm>
        </p:grpSpPr>
        <p:pic>
          <p:nvPicPr>
            <p:cNvPr id="249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8159526" y="1814670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0" name="직사각형 249"/>
            <p:cNvSpPr/>
            <p:nvPr/>
          </p:nvSpPr>
          <p:spPr>
            <a:xfrm>
              <a:off x="8208888" y="1881686"/>
              <a:ext cx="171400" cy="14400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8065944" y="1854948"/>
              <a:ext cx="536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Node</a:t>
              </a:r>
              <a:endParaRPr lang="ko-KR" altLang="en-US" sz="8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53" name="타원 252"/>
          <p:cNvSpPr/>
          <p:nvPr/>
        </p:nvSpPr>
        <p:spPr>
          <a:xfrm>
            <a:off x="5808285" y="2357493"/>
            <a:ext cx="684000" cy="684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5760616" y="2348880"/>
            <a:ext cx="79701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err="1" smtClean="0">
                <a:latin typeface="맑은 고딕" pitchFamily="50" charset="-127"/>
                <a:ea typeface="맑은 고딕" pitchFamily="50" charset="-127"/>
              </a:rPr>
              <a:t>제휴사</a:t>
            </a:r>
            <a:endParaRPr lang="en-US" altLang="ko-KR" sz="1000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영문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+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숫자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90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55" name="그룹 254"/>
          <p:cNvGrpSpPr/>
          <p:nvPr/>
        </p:nvGrpSpPr>
        <p:grpSpPr>
          <a:xfrm>
            <a:off x="5933406" y="2699279"/>
            <a:ext cx="536825" cy="377870"/>
            <a:chOff x="8065944" y="1814670"/>
            <a:chExt cx="536825" cy="377870"/>
          </a:xfrm>
        </p:grpSpPr>
        <p:pic>
          <p:nvPicPr>
            <p:cNvPr id="256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8159526" y="1814670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7" name="직사각형 256"/>
            <p:cNvSpPr/>
            <p:nvPr/>
          </p:nvSpPr>
          <p:spPr>
            <a:xfrm>
              <a:off x="8208888" y="1881686"/>
              <a:ext cx="171400" cy="14400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8065944" y="1854948"/>
              <a:ext cx="536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Node</a:t>
              </a:r>
              <a:endParaRPr lang="ko-KR" altLang="en-US" sz="8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60" name="타원 259"/>
          <p:cNvSpPr/>
          <p:nvPr/>
        </p:nvSpPr>
        <p:spPr>
          <a:xfrm>
            <a:off x="8223349" y="2357493"/>
            <a:ext cx="684000" cy="684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</a:endParaRPr>
          </a:p>
        </p:txBody>
      </p:sp>
      <p:sp>
        <p:nvSpPr>
          <p:cNvPr id="261" name="TextBox 260"/>
          <p:cNvSpPr txBox="1"/>
          <p:nvPr/>
        </p:nvSpPr>
        <p:spPr>
          <a:xfrm>
            <a:off x="8175680" y="2348880"/>
            <a:ext cx="79701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err="1" smtClean="0">
                <a:latin typeface="맑은 고딕" pitchFamily="50" charset="-127"/>
                <a:ea typeface="맑은 고딕" pitchFamily="50" charset="-127"/>
              </a:rPr>
              <a:t>제휴사</a:t>
            </a:r>
            <a:endParaRPr lang="en-US" altLang="ko-KR" sz="1000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영문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+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숫자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90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62" name="그룹 261"/>
          <p:cNvGrpSpPr/>
          <p:nvPr/>
        </p:nvGrpSpPr>
        <p:grpSpPr>
          <a:xfrm>
            <a:off x="8348470" y="2699279"/>
            <a:ext cx="536825" cy="377870"/>
            <a:chOff x="8065944" y="1814670"/>
            <a:chExt cx="536825" cy="377870"/>
          </a:xfrm>
        </p:grpSpPr>
        <p:pic>
          <p:nvPicPr>
            <p:cNvPr id="263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8159526" y="1814670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4" name="직사각형 263"/>
            <p:cNvSpPr/>
            <p:nvPr/>
          </p:nvSpPr>
          <p:spPr>
            <a:xfrm>
              <a:off x="8208888" y="1881686"/>
              <a:ext cx="171400" cy="14400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8065944" y="1854948"/>
              <a:ext cx="536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Node</a:t>
              </a:r>
              <a:endParaRPr lang="ko-KR" altLang="en-US" sz="8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67" name="타원 266"/>
          <p:cNvSpPr/>
          <p:nvPr/>
        </p:nvSpPr>
        <p:spPr>
          <a:xfrm>
            <a:off x="7002331" y="3149581"/>
            <a:ext cx="684000" cy="684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6954662" y="3140968"/>
            <a:ext cx="79701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000" b="1" dirty="0" err="1" smtClean="0">
                <a:latin typeface="맑은 고딕" pitchFamily="50" charset="-127"/>
                <a:ea typeface="맑은 고딕" pitchFamily="50" charset="-127"/>
              </a:rPr>
              <a:t>제휴사</a:t>
            </a:r>
            <a:endParaRPr lang="en-US" altLang="ko-KR" sz="1000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/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영문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+</a:t>
            </a:r>
            <a:r>
              <a:rPr lang="ko-KR" altLang="en-US" sz="900" dirty="0" smtClean="0">
                <a:latin typeface="맑은 고딕" pitchFamily="50" charset="-127"/>
                <a:ea typeface="맑은 고딕" pitchFamily="50" charset="-127"/>
              </a:rPr>
              <a:t>숫자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90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69" name="그룹 268"/>
          <p:cNvGrpSpPr/>
          <p:nvPr/>
        </p:nvGrpSpPr>
        <p:grpSpPr>
          <a:xfrm>
            <a:off x="7127452" y="3491367"/>
            <a:ext cx="536825" cy="377870"/>
            <a:chOff x="8065944" y="1814670"/>
            <a:chExt cx="536825" cy="377870"/>
          </a:xfrm>
        </p:grpSpPr>
        <p:pic>
          <p:nvPicPr>
            <p:cNvPr id="270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8159526" y="1814670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1" name="직사각형 270"/>
            <p:cNvSpPr/>
            <p:nvPr/>
          </p:nvSpPr>
          <p:spPr>
            <a:xfrm>
              <a:off x="8208888" y="1881686"/>
              <a:ext cx="171400" cy="14400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72" name="TextBox 271"/>
            <p:cNvSpPr txBox="1"/>
            <p:nvPr/>
          </p:nvSpPr>
          <p:spPr>
            <a:xfrm>
              <a:off x="8065944" y="1854948"/>
              <a:ext cx="536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Node</a:t>
              </a:r>
              <a:endParaRPr lang="ko-KR" altLang="en-US" sz="8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73" name="TextBox 272"/>
          <p:cNvSpPr txBox="1"/>
          <p:nvPr/>
        </p:nvSpPr>
        <p:spPr>
          <a:xfrm>
            <a:off x="8058848" y="1541469"/>
            <a:ext cx="12394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u="sng" dirty="0" smtClean="0">
                <a:latin typeface="맑은 고딕" pitchFamily="50" charset="-127"/>
                <a:ea typeface="맑은 고딕" pitchFamily="50" charset="-127"/>
              </a:rPr>
              <a:t>Node</a:t>
            </a:r>
            <a:r>
              <a:rPr lang="ko-KR" altLang="en-US" sz="1200" u="sng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u="sng" dirty="0" smtClean="0">
                <a:latin typeface="맑은 고딕" pitchFamily="50" charset="-127"/>
                <a:ea typeface="맑은 고딕" pitchFamily="50" charset="-127"/>
              </a:rPr>
              <a:t>쿠폰정보</a:t>
            </a:r>
            <a:endParaRPr lang="en-US" altLang="ko-KR" sz="1200" u="sng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200" u="sng" dirty="0" smtClean="0">
                <a:latin typeface="맑은 고딕" pitchFamily="50" charset="-127"/>
                <a:ea typeface="맑은 고딕" pitchFamily="50" charset="-127"/>
              </a:rPr>
              <a:t>실시간 동기화</a:t>
            </a:r>
            <a:endParaRPr lang="en-US" altLang="ko-KR" sz="1200" u="sng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1200" u="sng" dirty="0" smtClean="0">
                <a:latin typeface="맑은 고딕" pitchFamily="50" charset="-127"/>
                <a:ea typeface="맑은 고딕" pitchFamily="50" charset="-127"/>
              </a:rPr>
              <a:t>정보 검증</a:t>
            </a:r>
          </a:p>
        </p:txBody>
      </p:sp>
    </p:spTree>
    <p:extLst>
      <p:ext uri="{BB962C8B-B14F-4D97-AF65-F5344CB8AC3E}">
        <p14:creationId xmlns:p14="http://schemas.microsoft.com/office/powerpoint/2010/main" val="3249198999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 </a:t>
            </a:r>
            <a:r>
              <a:rPr lang="en-US" altLang="ko-KR" dirty="0" smtClean="0"/>
              <a:t>BM_</a:t>
            </a:r>
            <a:r>
              <a:rPr lang="ko-KR" altLang="en-US" dirty="0" smtClean="0"/>
              <a:t>인프라</a:t>
            </a:r>
            <a:r>
              <a:rPr lang="en-US" altLang="ko-KR" dirty="0" smtClean="0"/>
              <a:t>/</a:t>
            </a:r>
            <a:r>
              <a:rPr lang="ko-KR" altLang="en-US" dirty="0" smtClean="0"/>
              <a:t>서비스 구성</a:t>
            </a:r>
            <a:endParaRPr lang="ko-KR" altLang="en-US" dirty="0"/>
          </a:p>
        </p:txBody>
      </p:sp>
      <p:sp>
        <p:nvSpPr>
          <p:cNvPr id="3" name="직사각형 5"/>
          <p:cNvSpPr>
            <a:spLocks noChangeArrowheads="1"/>
          </p:cNvSpPr>
          <p:nvPr/>
        </p:nvSpPr>
        <p:spPr bwMode="auto">
          <a:xfrm>
            <a:off x="321409" y="561758"/>
            <a:ext cx="9577162" cy="632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0" bIns="3600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T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ko-KR" altLang="en-US" sz="14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사가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공동 운영 관리가 가능한 블록체인 기반의 제휴 쿠폰 플랫폼을 구축하여 업무 프로세스를 통합하고 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30000"/>
              </a:lnSpc>
            </a:pP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</a:t>
            </a:r>
            <a:r>
              <a:rPr lang="ko-KR" altLang="en-US" sz="14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간계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스템과 연동하여 제휴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관리 업무 효율화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투명성 제고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86673" y="4541817"/>
            <a:ext cx="3309489" cy="43204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T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멤버십 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APP/WEB (</a:t>
            </a:r>
            <a:r>
              <a:rPr lang="ko-KR" altLang="en-US" sz="1200" b="1" dirty="0" err="1" smtClean="0">
                <a:solidFill>
                  <a:schemeClr val="tx1"/>
                </a:solidFill>
              </a:rPr>
              <a:t>대고객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 채널</a:t>
            </a:r>
            <a:r>
              <a:rPr lang="en-US" altLang="ko-KR" sz="1200" b="1" dirty="0" smtClean="0">
                <a:solidFill>
                  <a:schemeClr val="tx1"/>
                </a:solidFill>
              </a:rPr>
              <a:t>)</a:t>
            </a:r>
            <a:endParaRPr lang="ko-KR" alt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30" name="오른쪽 화살표 29"/>
          <p:cNvSpPr/>
          <p:nvPr/>
        </p:nvSpPr>
        <p:spPr>
          <a:xfrm rot="16200000" flipH="1">
            <a:off x="2116059" y="3404477"/>
            <a:ext cx="232553" cy="201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453290" y="5266886"/>
            <a:ext cx="4507028" cy="122413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271463" indent="-271463" latinLnBrk="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en-US" altLang="ko-KR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loud</a:t>
            </a:r>
            <a:r>
              <a:rPr lang="ko-KR" altLang="en-US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기반 블록체인 플랫폼으로 통합관리 환경 구축</a:t>
            </a:r>
            <a:endParaRPr lang="en-US" altLang="ko-KR" sz="13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lvl="1" latinLnBrk="0">
              <a:lnSpc>
                <a:spcPct val="13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-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산원장 방식으로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력 정보를 실시간 공유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lvl="1" latinLnBrk="0">
              <a:lnSpc>
                <a:spcPct val="130000"/>
              </a:lnSpc>
            </a:pP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 - Node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별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원장 데이터로 실시간 정산 처리 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신뢰 재고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효율화</a:t>
            </a: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)</a:t>
            </a:r>
            <a:endParaRPr lang="en-US" altLang="ko-KR" sz="5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271463" latinLnBrk="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블록체인 플랫폼과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As is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기간계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시스템 연동</a:t>
            </a:r>
            <a:endParaRPr lang="en-US" altLang="ko-KR" sz="13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>
              <a:lnSpc>
                <a:spcPct val="130000"/>
              </a:lnSpc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맹점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OS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동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처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전송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후처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latinLnBrk="0">
              <a:lnSpc>
                <a:spcPct val="130000"/>
              </a:lnSpc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-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실적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데이터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RM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송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처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pSp>
        <p:nvGrpSpPr>
          <p:cNvPr id="76" name="그룹 45"/>
          <p:cNvGrpSpPr>
            <a:grpSpLocks/>
          </p:cNvGrpSpPr>
          <p:nvPr/>
        </p:nvGrpSpPr>
        <p:grpSpPr bwMode="auto">
          <a:xfrm>
            <a:off x="432584" y="1254797"/>
            <a:ext cx="4567818" cy="278386"/>
            <a:chOff x="312672" y="1323498"/>
            <a:chExt cx="4494276" cy="254452"/>
          </a:xfrm>
        </p:grpSpPr>
        <p:sp>
          <p:nvSpPr>
            <p:cNvPr id="77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312672" y="1577950"/>
              <a:ext cx="4494276" cy="0"/>
            </a:xfrm>
            <a:prstGeom prst="line">
              <a:avLst/>
            </a:prstGeom>
            <a:noFill/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anchor="b"/>
            <a:lstStyle/>
            <a:p>
              <a:endParaRPr lang="ko-KR" altLang="en-US" sz="1300" b="1">
                <a:latin typeface="+mn-ea"/>
                <a:ea typeface="+mn-ea"/>
              </a:endParaRPr>
            </a:p>
          </p:txBody>
        </p:sp>
        <p:sp>
          <p:nvSpPr>
            <p:cNvPr id="78" name="Text Box 613"/>
            <p:cNvSpPr txBox="1">
              <a:spLocks noChangeArrowheads="1"/>
            </p:cNvSpPr>
            <p:nvPr/>
          </p:nvSpPr>
          <p:spPr bwMode="blackWhite">
            <a:xfrm>
              <a:off x="312672" y="1323498"/>
              <a:ext cx="4494276" cy="1828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88900" indent="-88900" algn="ctr"/>
              <a:r>
                <a:rPr lang="ko-KR" altLang="en-US" sz="1300" b="1" dirty="0" smtClean="0">
                  <a:solidFill>
                    <a:srgbClr val="000000"/>
                  </a:solidFill>
                  <a:latin typeface="+mn-lt"/>
                  <a:ea typeface="+mn-ea"/>
                </a:rPr>
                <a:t>제휴 플랫폼 인프라 구성</a:t>
              </a:r>
              <a:endParaRPr lang="en-US" altLang="ko-KR" sz="1300" b="1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79" name="그룹 45"/>
          <p:cNvGrpSpPr>
            <a:grpSpLocks/>
          </p:cNvGrpSpPr>
          <p:nvPr/>
        </p:nvGrpSpPr>
        <p:grpSpPr bwMode="auto">
          <a:xfrm>
            <a:off x="5204899" y="1254797"/>
            <a:ext cx="4567818" cy="278386"/>
            <a:chOff x="312672" y="1323498"/>
            <a:chExt cx="4494276" cy="254452"/>
          </a:xfrm>
        </p:grpSpPr>
        <p:sp>
          <p:nvSpPr>
            <p:cNvPr id="80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312672" y="1577950"/>
              <a:ext cx="4494276" cy="0"/>
            </a:xfrm>
            <a:prstGeom prst="line">
              <a:avLst/>
            </a:prstGeom>
            <a:noFill/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anchor="b"/>
            <a:lstStyle/>
            <a:p>
              <a:endParaRPr lang="ko-KR" altLang="en-US" sz="1300" b="1">
                <a:latin typeface="+mn-ea"/>
                <a:ea typeface="+mn-ea"/>
              </a:endParaRPr>
            </a:p>
          </p:txBody>
        </p:sp>
        <p:sp>
          <p:nvSpPr>
            <p:cNvPr id="81" name="Text Box 613"/>
            <p:cNvSpPr txBox="1">
              <a:spLocks noChangeArrowheads="1"/>
            </p:cNvSpPr>
            <p:nvPr/>
          </p:nvSpPr>
          <p:spPr bwMode="blackWhite">
            <a:xfrm>
              <a:off x="312672" y="1323498"/>
              <a:ext cx="4494276" cy="1828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88900" indent="-88900" algn="ctr"/>
              <a:r>
                <a:rPr lang="ko-KR" altLang="en-US" sz="1300" b="1" dirty="0" smtClean="0">
                  <a:solidFill>
                    <a:srgbClr val="000000"/>
                  </a:solidFill>
                  <a:latin typeface="+mn-lt"/>
                  <a:ea typeface="+mn-ea"/>
                </a:rPr>
                <a:t>제휴 플랫폼</a:t>
              </a:r>
              <a:r>
                <a:rPr lang="en-US" altLang="ko-KR" sz="1300" b="1" dirty="0" smtClean="0">
                  <a:solidFill>
                    <a:srgbClr val="000000"/>
                  </a:solidFill>
                  <a:latin typeface="+mn-lt"/>
                  <a:ea typeface="+mn-ea"/>
                </a:rPr>
                <a:t> </a:t>
              </a:r>
              <a:r>
                <a:rPr lang="ko-KR" altLang="en-US" sz="1300" b="1" dirty="0" smtClean="0">
                  <a:solidFill>
                    <a:srgbClr val="000000"/>
                  </a:solidFill>
                  <a:latin typeface="+mn-lt"/>
                  <a:ea typeface="+mn-ea"/>
                </a:rPr>
                <a:t>서비</a:t>
              </a:r>
              <a:r>
                <a:rPr lang="ko-KR" altLang="en-US" sz="1300" b="1" dirty="0">
                  <a:solidFill>
                    <a:srgbClr val="000000"/>
                  </a:solidFill>
                  <a:latin typeface="+mn-lt"/>
                  <a:ea typeface="+mn-ea"/>
                </a:rPr>
                <a:t>스</a:t>
              </a:r>
              <a:r>
                <a:rPr lang="ko-KR" altLang="en-US" sz="1300" b="1" dirty="0" smtClean="0">
                  <a:solidFill>
                    <a:srgbClr val="000000"/>
                  </a:solidFill>
                  <a:latin typeface="+mn-lt"/>
                  <a:ea typeface="+mn-ea"/>
                </a:rPr>
                <a:t> 구성</a:t>
              </a:r>
              <a:endParaRPr lang="en-US" altLang="ko-KR" sz="1300" b="1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49" name="직사각형 48"/>
          <p:cNvSpPr/>
          <p:nvPr/>
        </p:nvSpPr>
        <p:spPr>
          <a:xfrm>
            <a:off x="4126258" y="1649150"/>
            <a:ext cx="797521" cy="69973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As is</a:t>
            </a: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인프</a:t>
            </a:r>
            <a:r>
              <a:rPr lang="ko-KR" altLang="en-US" sz="1200" b="1" dirty="0">
                <a:solidFill>
                  <a:schemeClr val="tx1"/>
                </a:solidFill>
              </a:rPr>
              <a:t>라</a:t>
            </a:r>
            <a:endParaRPr lang="en-US" altLang="ko-KR" sz="1200" b="1" dirty="0">
              <a:solidFill>
                <a:schemeClr val="tx1"/>
              </a:solidFill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597867" y="1716467"/>
            <a:ext cx="3359547" cy="577523"/>
            <a:chOff x="1418871" y="2802194"/>
            <a:chExt cx="3359547" cy="648072"/>
          </a:xfrm>
        </p:grpSpPr>
        <p:sp>
          <p:nvSpPr>
            <p:cNvPr id="33" name="직사각형 32"/>
            <p:cNvSpPr/>
            <p:nvPr/>
          </p:nvSpPr>
          <p:spPr>
            <a:xfrm>
              <a:off x="1418871" y="2802194"/>
              <a:ext cx="733763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b="1" dirty="0" smtClean="0">
                  <a:solidFill>
                    <a:schemeClr val="tx1"/>
                  </a:solidFill>
                </a:rPr>
                <a:t>SKT</a:t>
              </a:r>
            </a:p>
            <a:p>
              <a:pPr algn="ctr"/>
              <a:r>
                <a:rPr lang="en-US" altLang="ko-KR" sz="1000" dirty="0" smtClean="0">
                  <a:solidFill>
                    <a:schemeClr val="tx1"/>
                  </a:solidFill>
                </a:rPr>
                <a:t>(Admin</a:t>
              </a:r>
            </a:p>
            <a:p>
              <a:pPr algn="ctr"/>
              <a:r>
                <a:rPr lang="en-US" altLang="ko-KR" sz="1000" dirty="0" smtClean="0">
                  <a:solidFill>
                    <a:schemeClr val="tx1"/>
                  </a:solidFill>
                </a:rPr>
                <a:t>/PRM)</a:t>
              </a:r>
              <a:endParaRPr lang="ko-KR" alt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2277445" y="2802194"/>
              <a:ext cx="733763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err="1" smtClean="0">
                  <a:solidFill>
                    <a:schemeClr val="tx1"/>
                  </a:solidFill>
                </a:rPr>
                <a:t>제휴사</a:t>
              </a:r>
              <a:endParaRPr lang="en-US" altLang="ko-KR" sz="1200" b="1" dirty="0" smtClean="0">
                <a:solidFill>
                  <a:schemeClr val="tx1"/>
                </a:solidFill>
              </a:endParaRPr>
            </a:p>
            <a:p>
              <a:pPr algn="ctr"/>
              <a:endParaRPr lang="en-US" altLang="ko-KR" sz="12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직사각형 34"/>
            <p:cNvSpPr/>
            <p:nvPr/>
          </p:nvSpPr>
          <p:spPr>
            <a:xfrm>
              <a:off x="3136021" y="2802194"/>
              <a:ext cx="733763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err="1" smtClean="0">
                  <a:solidFill>
                    <a:schemeClr val="tx1"/>
                  </a:solidFill>
                </a:rPr>
                <a:t>제휴사</a:t>
              </a:r>
              <a:endParaRPr lang="en-US" altLang="ko-KR" sz="1200" b="1" dirty="0" smtClean="0">
                <a:solidFill>
                  <a:schemeClr val="tx1"/>
                </a:solidFill>
              </a:endParaRPr>
            </a:p>
            <a:p>
              <a:pPr algn="ctr"/>
              <a:endParaRPr lang="en-US" altLang="ko-KR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3994596" y="2802194"/>
              <a:ext cx="733763" cy="6480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err="1" smtClean="0">
                  <a:solidFill>
                    <a:schemeClr val="tx1"/>
                  </a:solidFill>
                </a:rPr>
                <a:t>제휴사</a:t>
              </a:r>
              <a:endParaRPr lang="en-US" altLang="ko-KR" sz="1200" b="1" dirty="0" smtClean="0">
                <a:solidFill>
                  <a:schemeClr val="tx1"/>
                </a:solidFill>
              </a:endParaRPr>
            </a:p>
            <a:p>
              <a:pPr algn="ctr"/>
              <a:endParaRPr lang="en-US" altLang="ko-KR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232224" y="3090226"/>
              <a:ext cx="8338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dirty="0" smtClean="0">
                  <a:latin typeface="맑은 고딕" pitchFamily="50" charset="-127"/>
                  <a:ea typeface="맑은 고딕" pitchFamily="50" charset="-127"/>
                </a:rPr>
                <a:t>서버</a:t>
              </a:r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, POS)</a:t>
              </a:r>
              <a:endParaRPr lang="ko-KR" altLang="en-US" sz="10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096593" y="3090226"/>
              <a:ext cx="8338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dirty="0" smtClean="0">
                  <a:latin typeface="맑은 고딕" pitchFamily="50" charset="-127"/>
                  <a:ea typeface="맑은 고딕" pitchFamily="50" charset="-127"/>
                </a:rPr>
                <a:t>서버</a:t>
              </a:r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, POS)</a:t>
              </a:r>
              <a:endParaRPr lang="ko-KR" altLang="en-US" sz="10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944535" y="3090226"/>
              <a:ext cx="8338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dirty="0" smtClean="0">
                  <a:latin typeface="맑은 고딕" pitchFamily="50" charset="-127"/>
                  <a:ea typeface="맑은 고딕" pitchFamily="50" charset="-127"/>
                </a:rPr>
                <a:t>서버</a:t>
              </a:r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, POS)</a:t>
              </a:r>
              <a:endParaRPr lang="ko-KR" altLang="en-US" sz="10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5" name="오른쪽 화살표 84"/>
          <p:cNvSpPr/>
          <p:nvPr/>
        </p:nvSpPr>
        <p:spPr>
          <a:xfrm rot="10800000">
            <a:off x="4018243" y="1878317"/>
            <a:ext cx="252000" cy="21602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4224427" y="2720469"/>
            <a:ext cx="797521" cy="136803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블록체인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+mn-ea"/>
              </a:rPr>
              <a:t>플랫폼</a:t>
            </a:r>
            <a:endParaRPr lang="en-US" altLang="ko-KR" sz="1200" b="1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6" name="오른쪽 화살표 85"/>
          <p:cNvSpPr/>
          <p:nvPr/>
        </p:nvSpPr>
        <p:spPr>
          <a:xfrm rot="10800000">
            <a:off x="4017963" y="3296415"/>
            <a:ext cx="252000" cy="21602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cxnSp>
        <p:nvCxnSpPr>
          <p:cNvPr id="38" name="직선 화살표 연결선 37"/>
          <p:cNvCxnSpPr>
            <a:stCxn id="33" idx="2"/>
          </p:cNvCxnSpPr>
          <p:nvPr/>
        </p:nvCxnSpPr>
        <p:spPr>
          <a:xfrm>
            <a:off x="964749" y="2293990"/>
            <a:ext cx="0" cy="3240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/>
          <p:cNvCxnSpPr>
            <a:stCxn id="34" idx="2"/>
          </p:cNvCxnSpPr>
          <p:nvPr/>
        </p:nvCxnSpPr>
        <p:spPr>
          <a:xfrm flipH="1">
            <a:off x="1823043" y="2293990"/>
            <a:ext cx="280" cy="3240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>
            <a:stCxn id="35" idx="2"/>
          </p:cNvCxnSpPr>
          <p:nvPr/>
        </p:nvCxnSpPr>
        <p:spPr>
          <a:xfrm flipH="1">
            <a:off x="2681619" y="2293990"/>
            <a:ext cx="280" cy="3240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/>
          <p:cNvCxnSpPr>
            <a:stCxn id="36" idx="2"/>
          </p:cNvCxnSpPr>
          <p:nvPr/>
        </p:nvCxnSpPr>
        <p:spPr>
          <a:xfrm>
            <a:off x="3540474" y="2293990"/>
            <a:ext cx="0" cy="32400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직사각형 139"/>
          <p:cNvSpPr/>
          <p:nvPr/>
        </p:nvSpPr>
        <p:spPr>
          <a:xfrm>
            <a:off x="5328568" y="5400269"/>
            <a:ext cx="4392488" cy="9810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271463" indent="-271463" latinLnBrk="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SKT,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제휴사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자율적 쿠폰 발행 가능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271463" latinLnBrk="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ko-KR" altLang="en-US" sz="13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r>
              <a:rPr lang="ko-KR" altLang="en-US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가입</a:t>
            </a:r>
            <a:r>
              <a:rPr lang="en-US" altLang="ko-KR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 기능으로 블록체인 네트워크 구성   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71463" indent="-271463" latinLnBrk="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ko-KR" altLang="en-US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사별 이용 실적 </a:t>
            </a:r>
            <a:r>
              <a:rPr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</a:t>
            </a:r>
            <a:r>
              <a:rPr lang="ko-KR" altLang="en-US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3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스킴</a:t>
            </a:r>
            <a:r>
              <a:rPr lang="ko-KR" altLang="en-US" sz="13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적용 정산 데이터 제공</a:t>
            </a:r>
            <a:endParaRPr lang="en-US" altLang="ko-KR" sz="13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504305" y="2626200"/>
            <a:ext cx="3500595" cy="165432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 smtClean="0">
              <a:solidFill>
                <a:schemeClr val="tx1"/>
              </a:solidFill>
            </a:endParaRPr>
          </a:p>
        </p:txBody>
      </p:sp>
      <p:grpSp>
        <p:nvGrpSpPr>
          <p:cNvPr id="54" name="그룹 53"/>
          <p:cNvGrpSpPr/>
          <p:nvPr/>
        </p:nvGrpSpPr>
        <p:grpSpPr>
          <a:xfrm>
            <a:off x="7791937" y="2235627"/>
            <a:ext cx="216000" cy="252000"/>
            <a:chOff x="1147138" y="1955126"/>
            <a:chExt cx="263058" cy="377870"/>
          </a:xfrm>
        </p:grpSpPr>
        <p:pic>
          <p:nvPicPr>
            <p:cNvPr id="55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직사각형 55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그룹 57"/>
          <p:cNvGrpSpPr/>
          <p:nvPr/>
        </p:nvGrpSpPr>
        <p:grpSpPr>
          <a:xfrm>
            <a:off x="7791937" y="2530811"/>
            <a:ext cx="216000" cy="252000"/>
            <a:chOff x="1147138" y="1955126"/>
            <a:chExt cx="263058" cy="377870"/>
          </a:xfrm>
        </p:grpSpPr>
        <p:pic>
          <p:nvPicPr>
            <p:cNvPr id="59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직사각형 59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61" name="직사각형 60"/>
          <p:cNvSpPr/>
          <p:nvPr/>
        </p:nvSpPr>
        <p:spPr>
          <a:xfrm>
            <a:off x="5354296" y="1722350"/>
            <a:ext cx="1933583" cy="1524606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7730561" y="1722350"/>
            <a:ext cx="1933583" cy="1524606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888389" y="1835892"/>
            <a:ext cx="91082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300" b="1" u="sng" dirty="0" smtClean="0">
                <a:latin typeface="맑은 고딕" pitchFamily="50" charset="-127"/>
                <a:ea typeface="맑은 고딕" pitchFamily="50" charset="-127"/>
              </a:rPr>
              <a:t>쿠폰 발행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241938" y="1835892"/>
            <a:ext cx="91082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300" b="1" u="sng" dirty="0" smtClean="0">
                <a:latin typeface="맑은 고딕" pitchFamily="50" charset="-127"/>
                <a:ea typeface="맑은 고딕" pitchFamily="50" charset="-127"/>
              </a:rPr>
              <a:t>쿠폰 승인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669382" y="2264339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쿠폰 발행 신청</a:t>
            </a:r>
            <a:endParaRPr lang="en-US" altLang="ko-KR" sz="1200" b="1" u="sng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66" name="그룹 65"/>
          <p:cNvGrpSpPr/>
          <p:nvPr/>
        </p:nvGrpSpPr>
        <p:grpSpPr>
          <a:xfrm>
            <a:off x="5434120" y="2231758"/>
            <a:ext cx="216000" cy="252000"/>
            <a:chOff x="1147138" y="1955126"/>
            <a:chExt cx="263058" cy="377870"/>
          </a:xfrm>
        </p:grpSpPr>
        <p:pic>
          <p:nvPicPr>
            <p:cNvPr id="67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8" name="직사각형 67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69" name="그룹 68"/>
          <p:cNvGrpSpPr/>
          <p:nvPr/>
        </p:nvGrpSpPr>
        <p:grpSpPr>
          <a:xfrm>
            <a:off x="5434120" y="2530811"/>
            <a:ext cx="216000" cy="252000"/>
            <a:chOff x="1147138" y="1955126"/>
            <a:chExt cx="263058" cy="377870"/>
          </a:xfrm>
        </p:grpSpPr>
        <p:pic>
          <p:nvPicPr>
            <p:cNvPr id="70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" name="직사각형 70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5669382" y="2527079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발행 요청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024314" y="2261916"/>
            <a:ext cx="1370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발행 요청 리스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트</a:t>
            </a:r>
            <a:endParaRPr lang="ko-KR" altLang="en-US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024314" y="2531939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쿠폰 상세 조회</a:t>
            </a:r>
          </a:p>
        </p:txBody>
      </p:sp>
      <p:sp>
        <p:nvSpPr>
          <p:cNvPr id="82" name="이등변 삼각형 81"/>
          <p:cNvSpPr/>
          <p:nvPr/>
        </p:nvSpPr>
        <p:spPr>
          <a:xfrm rot="5400000">
            <a:off x="7314105" y="2405297"/>
            <a:ext cx="421415" cy="16456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83" name="이등변 삼각형 82"/>
          <p:cNvSpPr/>
          <p:nvPr/>
        </p:nvSpPr>
        <p:spPr>
          <a:xfrm rot="16200000">
            <a:off x="7294598" y="4268831"/>
            <a:ext cx="421415" cy="16456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7730559" y="3646999"/>
            <a:ext cx="1933583" cy="1577157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8279626" y="3703576"/>
            <a:ext cx="910827" cy="343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300" b="1" u="sng" dirty="0" smtClean="0">
                <a:latin typeface="맑은 고딕" pitchFamily="50" charset="-127"/>
                <a:ea typeface="맑은 고딕" pitchFamily="50" charset="-127"/>
              </a:rPr>
              <a:t>쿠폰 사</a:t>
            </a:r>
            <a:r>
              <a:rPr lang="ko-KR" altLang="en-US" sz="1300" b="1" u="sng" dirty="0">
                <a:latin typeface="맑은 고딕" pitchFamily="50" charset="-127"/>
                <a:ea typeface="맑은 고딕" pitchFamily="50" charset="-127"/>
              </a:rPr>
              <a:t>용</a:t>
            </a:r>
            <a:endParaRPr lang="ko-KR" altLang="en-US" sz="1300" b="1" u="sng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8013958" y="4101019"/>
            <a:ext cx="1370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전체 쿠폰 리스트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013958" y="4423665"/>
            <a:ext cx="16786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제휴사별 쿠폰 리스트</a:t>
            </a:r>
          </a:p>
        </p:txBody>
      </p:sp>
      <p:sp>
        <p:nvSpPr>
          <p:cNvPr id="105" name="직사각형 104"/>
          <p:cNvSpPr/>
          <p:nvPr/>
        </p:nvSpPr>
        <p:spPr>
          <a:xfrm>
            <a:off x="5354297" y="3645023"/>
            <a:ext cx="1933583" cy="1577157"/>
          </a:xfrm>
          <a:prstGeom prst="rect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5831166" y="3701600"/>
            <a:ext cx="925253" cy="343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300" b="1" u="sng" dirty="0" smtClean="0"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lang="en-US" altLang="ko-KR" sz="1300" b="1" u="sng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300" b="1" u="sng" dirty="0" smtClean="0">
                <a:latin typeface="맑은 고딕" pitchFamily="50" charset="-127"/>
                <a:ea typeface="맑은 고딕" pitchFamily="50" charset="-127"/>
              </a:rPr>
              <a:t>정산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650539" y="4067144"/>
            <a:ext cx="15247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제휴사별 사용 이력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5661172" y="4369877"/>
            <a:ext cx="15247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제휴사별 실적 정보</a:t>
            </a:r>
          </a:p>
        </p:txBody>
      </p:sp>
      <p:sp>
        <p:nvSpPr>
          <p:cNvPr id="109" name="이등변 삼각형 108"/>
          <p:cNvSpPr/>
          <p:nvPr/>
        </p:nvSpPr>
        <p:spPr>
          <a:xfrm rot="10800000">
            <a:off x="8493174" y="3356992"/>
            <a:ext cx="421415" cy="164566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110" name="그룹 109"/>
          <p:cNvGrpSpPr/>
          <p:nvPr/>
        </p:nvGrpSpPr>
        <p:grpSpPr>
          <a:xfrm>
            <a:off x="5434120" y="2842625"/>
            <a:ext cx="216000" cy="252000"/>
            <a:chOff x="1147138" y="1955126"/>
            <a:chExt cx="263058" cy="377870"/>
          </a:xfrm>
        </p:grpSpPr>
        <p:pic>
          <p:nvPicPr>
            <p:cNvPr id="111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2" name="직사각형 111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5669382" y="2804946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발행 요청 조회</a:t>
            </a:r>
          </a:p>
        </p:txBody>
      </p:sp>
      <p:grpSp>
        <p:nvGrpSpPr>
          <p:cNvPr id="114" name="그룹 113"/>
          <p:cNvGrpSpPr/>
          <p:nvPr/>
        </p:nvGrpSpPr>
        <p:grpSpPr>
          <a:xfrm>
            <a:off x="7791937" y="2826664"/>
            <a:ext cx="216000" cy="252000"/>
            <a:chOff x="1147138" y="1955126"/>
            <a:chExt cx="263058" cy="377870"/>
          </a:xfrm>
        </p:grpSpPr>
        <p:pic>
          <p:nvPicPr>
            <p:cNvPr id="115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6" name="직사각형 115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17" name="TextBox 116"/>
          <p:cNvSpPr txBox="1"/>
          <p:nvPr/>
        </p:nvSpPr>
        <p:spPr>
          <a:xfrm>
            <a:off x="8024314" y="2793845"/>
            <a:ext cx="854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쿠폰 승인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7996048" y="4732975"/>
            <a:ext cx="1370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고객 보유 </a:t>
            </a:r>
            <a:r>
              <a:rPr lang="ko-KR" altLang="en-US" dirty="0" err="1"/>
              <a:t>쿠폰함</a:t>
            </a:r>
            <a:endParaRPr lang="ko-KR" altLang="en-US" dirty="0"/>
          </a:p>
        </p:txBody>
      </p:sp>
      <p:grpSp>
        <p:nvGrpSpPr>
          <p:cNvPr id="122" name="그룹 121"/>
          <p:cNvGrpSpPr/>
          <p:nvPr/>
        </p:nvGrpSpPr>
        <p:grpSpPr>
          <a:xfrm>
            <a:off x="5434120" y="4073778"/>
            <a:ext cx="216000" cy="252000"/>
            <a:chOff x="1147138" y="1955126"/>
            <a:chExt cx="263058" cy="377870"/>
          </a:xfrm>
        </p:grpSpPr>
        <p:pic>
          <p:nvPicPr>
            <p:cNvPr id="123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4" name="직사각형 123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5" name="그룹 124"/>
          <p:cNvGrpSpPr/>
          <p:nvPr/>
        </p:nvGrpSpPr>
        <p:grpSpPr>
          <a:xfrm>
            <a:off x="5434120" y="4385592"/>
            <a:ext cx="216000" cy="252000"/>
            <a:chOff x="1147138" y="1955126"/>
            <a:chExt cx="263058" cy="377870"/>
          </a:xfrm>
        </p:grpSpPr>
        <p:pic>
          <p:nvPicPr>
            <p:cNvPr id="126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7" name="직사각형 126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8" name="그룹 127"/>
          <p:cNvGrpSpPr/>
          <p:nvPr/>
        </p:nvGrpSpPr>
        <p:grpSpPr>
          <a:xfrm>
            <a:off x="7836712" y="4100672"/>
            <a:ext cx="216000" cy="252000"/>
            <a:chOff x="1147138" y="1955126"/>
            <a:chExt cx="263058" cy="377870"/>
          </a:xfrm>
        </p:grpSpPr>
        <p:pic>
          <p:nvPicPr>
            <p:cNvPr id="129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0" name="직사각형 129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1" name="그룹 130"/>
          <p:cNvGrpSpPr/>
          <p:nvPr/>
        </p:nvGrpSpPr>
        <p:grpSpPr>
          <a:xfrm>
            <a:off x="7836712" y="4412486"/>
            <a:ext cx="216000" cy="252000"/>
            <a:chOff x="1147138" y="1955126"/>
            <a:chExt cx="263058" cy="377870"/>
          </a:xfrm>
        </p:grpSpPr>
        <p:pic>
          <p:nvPicPr>
            <p:cNvPr id="132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3" name="직사각형 132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4" name="그룹 133"/>
          <p:cNvGrpSpPr/>
          <p:nvPr/>
        </p:nvGrpSpPr>
        <p:grpSpPr>
          <a:xfrm>
            <a:off x="7836712" y="4721076"/>
            <a:ext cx="216000" cy="252000"/>
            <a:chOff x="1147138" y="1955126"/>
            <a:chExt cx="263058" cy="377870"/>
          </a:xfrm>
        </p:grpSpPr>
        <p:pic>
          <p:nvPicPr>
            <p:cNvPr id="135" name="Picture 2" descr="\\Client\D$\★Temp★\작업image2\문서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63" t="4039" r="19157" b="8384"/>
            <a:stretch/>
          </p:blipFill>
          <p:spPr bwMode="auto">
            <a:xfrm>
              <a:off x="1147138" y="1955126"/>
              <a:ext cx="263058" cy="377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6" name="직사각형 135"/>
            <p:cNvSpPr/>
            <p:nvPr/>
          </p:nvSpPr>
          <p:spPr>
            <a:xfrm>
              <a:off x="1217292" y="1997622"/>
              <a:ext cx="144016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77" name="직선 화살표 연결선 176"/>
          <p:cNvCxnSpPr/>
          <p:nvPr/>
        </p:nvCxnSpPr>
        <p:spPr>
          <a:xfrm flipV="1">
            <a:off x="1464547" y="3454497"/>
            <a:ext cx="1611667" cy="4194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직선 화살표 연결선 177"/>
          <p:cNvCxnSpPr/>
          <p:nvPr/>
        </p:nvCxnSpPr>
        <p:spPr>
          <a:xfrm>
            <a:off x="2248315" y="3227056"/>
            <a:ext cx="0" cy="43200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직선 화살표 연결선 202"/>
          <p:cNvCxnSpPr/>
          <p:nvPr/>
        </p:nvCxnSpPr>
        <p:spPr>
          <a:xfrm flipV="1">
            <a:off x="1352199" y="2889130"/>
            <a:ext cx="504000" cy="369212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직선 화살표 연결선 203"/>
          <p:cNvCxnSpPr/>
          <p:nvPr/>
        </p:nvCxnSpPr>
        <p:spPr>
          <a:xfrm flipV="1">
            <a:off x="2630858" y="3637600"/>
            <a:ext cx="504000" cy="369212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직선 화살표 연결선 204"/>
          <p:cNvCxnSpPr/>
          <p:nvPr/>
        </p:nvCxnSpPr>
        <p:spPr>
          <a:xfrm>
            <a:off x="2606554" y="2913798"/>
            <a:ext cx="557900" cy="346642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직선 화살표 연결선 205"/>
          <p:cNvCxnSpPr/>
          <p:nvPr/>
        </p:nvCxnSpPr>
        <p:spPr>
          <a:xfrm>
            <a:off x="1340212" y="3635492"/>
            <a:ext cx="504000" cy="346642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타원 201"/>
          <p:cNvSpPr/>
          <p:nvPr/>
        </p:nvSpPr>
        <p:spPr>
          <a:xfrm>
            <a:off x="1887592" y="2636912"/>
            <a:ext cx="684000" cy="572582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52170" y="2704556"/>
            <a:ext cx="577659" cy="3864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SKT</a:t>
            </a:r>
          </a:p>
          <a:p>
            <a:pPr algn="ctr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(Peer)</a:t>
            </a:r>
            <a:endParaRPr lang="ko-KR" altLang="en-US" sz="1200" dirty="0" err="1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706993" y="3162555"/>
            <a:ext cx="684000" cy="572582"/>
            <a:chOff x="706993" y="3214807"/>
            <a:chExt cx="684000" cy="572582"/>
          </a:xfrm>
        </p:grpSpPr>
        <p:sp>
          <p:nvSpPr>
            <p:cNvPr id="184" name="타원 183"/>
            <p:cNvSpPr/>
            <p:nvPr/>
          </p:nvSpPr>
          <p:spPr>
            <a:xfrm>
              <a:off x="706993" y="3214807"/>
              <a:ext cx="684000" cy="57258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7" name="TextBox 206"/>
            <p:cNvSpPr txBox="1"/>
            <p:nvPr/>
          </p:nvSpPr>
          <p:spPr>
            <a:xfrm>
              <a:off x="722772" y="3323981"/>
              <a:ext cx="646331" cy="386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200" b="1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en-US" altLang="ko-KR" sz="1200" b="1" dirty="0" smtClean="0"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(Peer)</a:t>
              </a:r>
              <a:endParaRPr lang="ko-KR" altLang="en-US" sz="12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3122057" y="3162555"/>
            <a:ext cx="684000" cy="572582"/>
            <a:chOff x="3122057" y="3214807"/>
            <a:chExt cx="684000" cy="572582"/>
          </a:xfrm>
        </p:grpSpPr>
        <p:sp>
          <p:nvSpPr>
            <p:cNvPr id="190" name="타원 189"/>
            <p:cNvSpPr/>
            <p:nvPr/>
          </p:nvSpPr>
          <p:spPr>
            <a:xfrm>
              <a:off x="3122057" y="3214807"/>
              <a:ext cx="684000" cy="57258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8" name="TextBox 207"/>
            <p:cNvSpPr txBox="1"/>
            <p:nvPr/>
          </p:nvSpPr>
          <p:spPr>
            <a:xfrm>
              <a:off x="3158227" y="3323981"/>
              <a:ext cx="646331" cy="386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200" b="1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en-US" altLang="ko-KR" sz="1200" b="1" dirty="0" smtClean="0"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(Peer)</a:t>
              </a:r>
              <a:endParaRPr lang="ko-KR" altLang="en-US" sz="12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1901039" y="3671150"/>
            <a:ext cx="684000" cy="572582"/>
            <a:chOff x="1914102" y="3768953"/>
            <a:chExt cx="684000" cy="572582"/>
          </a:xfrm>
        </p:grpSpPr>
        <p:sp>
          <p:nvSpPr>
            <p:cNvPr id="196" name="타원 195"/>
            <p:cNvSpPr/>
            <p:nvPr/>
          </p:nvSpPr>
          <p:spPr>
            <a:xfrm>
              <a:off x="1914102" y="3768953"/>
              <a:ext cx="684000" cy="57258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1934114" y="3875451"/>
              <a:ext cx="646331" cy="3864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ko-KR" altLang="en-US" sz="1200" b="1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en-US" altLang="ko-KR" sz="1200" b="1" dirty="0" smtClean="0"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(Peer)</a:t>
              </a:r>
              <a:endParaRPr lang="ko-KR" altLang="en-US" sz="12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3760888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모서리가 둥근 직사각형 2"/>
          <p:cNvSpPr/>
          <p:nvPr/>
        </p:nvSpPr>
        <p:spPr>
          <a:xfrm>
            <a:off x="2414740" y="1988840"/>
            <a:ext cx="5400600" cy="288032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서비스 시연</a:t>
            </a:r>
          </a:p>
        </p:txBody>
      </p:sp>
    </p:spTree>
    <p:extLst>
      <p:ext uri="{BB962C8B-B14F-4D97-AF65-F5344CB8AC3E}">
        <p14:creationId xmlns:p14="http://schemas.microsoft.com/office/powerpoint/2010/main" val="3676787858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모서리가 둥근 직사각형 158"/>
          <p:cNvSpPr/>
          <p:nvPr/>
        </p:nvSpPr>
        <p:spPr>
          <a:xfrm>
            <a:off x="1716478" y="1052735"/>
            <a:ext cx="7925103" cy="5356009"/>
          </a:xfrm>
          <a:prstGeom prst="roundRect">
            <a:avLst>
              <a:gd name="adj" fmla="val 2837"/>
            </a:avLst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</a:rPr>
              <a:t>Cloud </a:t>
            </a:r>
            <a:r>
              <a:rPr lang="en-US" altLang="ko-KR" sz="1000" dirty="0">
                <a:solidFill>
                  <a:schemeClr val="tx1"/>
                </a:solidFill>
              </a:rPr>
              <a:t>VM (</a:t>
            </a:r>
            <a:r>
              <a:rPr lang="en-US" altLang="ko-KR" sz="1000" dirty="0" smtClean="0">
                <a:solidFill>
                  <a:schemeClr val="tx1"/>
                </a:solidFill>
              </a:rPr>
              <a:t>13.209.103.28)</a:t>
            </a:r>
            <a:endParaRPr lang="ko-KR" alt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59" name="그룹 58"/>
          <p:cNvGrpSpPr/>
          <p:nvPr/>
        </p:nvGrpSpPr>
        <p:grpSpPr>
          <a:xfrm>
            <a:off x="6858325" y="3227170"/>
            <a:ext cx="2278936" cy="2668571"/>
            <a:chOff x="883420" y="730978"/>
            <a:chExt cx="3385081" cy="4354206"/>
          </a:xfrm>
        </p:grpSpPr>
        <p:grpSp>
          <p:nvGrpSpPr>
            <p:cNvPr id="60" name="그룹 59"/>
            <p:cNvGrpSpPr/>
            <p:nvPr/>
          </p:nvGrpSpPr>
          <p:grpSpPr>
            <a:xfrm>
              <a:off x="883420" y="1700808"/>
              <a:ext cx="3373174" cy="904786"/>
              <a:chOff x="883420" y="1958422"/>
              <a:chExt cx="3373174" cy="904786"/>
            </a:xfrm>
          </p:grpSpPr>
          <p:sp>
            <p:nvSpPr>
              <p:cNvPr id="110" name="TextBox 109"/>
              <p:cNvSpPr txBox="1"/>
              <p:nvPr/>
            </p:nvSpPr>
            <p:spPr>
              <a:xfrm>
                <a:off x="883420" y="2262223"/>
                <a:ext cx="5709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조직 </a:t>
                </a:r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A</a:t>
                </a: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3298929" y="2319840"/>
                <a:ext cx="957665" cy="40174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제휴사</a:t>
                </a:r>
                <a:r>
                  <a:rPr lang="en-US" altLang="ko-KR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B</a:t>
                </a:r>
                <a:endParaRPr lang="en-US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112" name="직사각형 111"/>
              <p:cNvSpPr/>
              <p:nvPr/>
            </p:nvSpPr>
            <p:spPr>
              <a:xfrm>
                <a:off x="2078300" y="1958422"/>
                <a:ext cx="767566" cy="737972"/>
              </a:xfrm>
              <a:prstGeom prst="rect">
                <a:avLst/>
              </a:prstGeom>
              <a:solidFill>
                <a:srgbClr val="ABB9BF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latin typeface="+mn-ea"/>
                  </a:rPr>
                  <a:t>P1</a:t>
                </a:r>
                <a:endParaRPr lang="ko-KR" altLang="en-US" sz="1000" dirty="0">
                  <a:latin typeface="+mn-ea"/>
                </a:endParaRPr>
              </a:p>
            </p:txBody>
          </p:sp>
          <p:sp>
            <p:nvSpPr>
              <p:cNvPr id="113" name="직사각형 112"/>
              <p:cNvSpPr/>
              <p:nvPr/>
            </p:nvSpPr>
            <p:spPr>
              <a:xfrm>
                <a:off x="2607504" y="2125236"/>
                <a:ext cx="767566" cy="737972"/>
              </a:xfrm>
              <a:prstGeom prst="rect">
                <a:avLst/>
              </a:prstGeom>
              <a:solidFill>
                <a:srgbClr val="DDDDDD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solidFill>
                      <a:srgbClr val="0066FF"/>
                    </a:solidFill>
                    <a:latin typeface="+mn-ea"/>
                  </a:rPr>
                  <a:t>P2</a:t>
                </a:r>
                <a:endParaRPr lang="ko-KR" altLang="en-US" sz="1000" dirty="0">
                  <a:solidFill>
                    <a:srgbClr val="0066FF"/>
                  </a:solidFill>
                  <a:latin typeface="+mn-ea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2131685" y="2331763"/>
                <a:ext cx="7312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en-US" altLang="ko-KR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channel1</a:t>
                </a:r>
                <a:endParaRPr lang="en-US" altLang="ko-KR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</p:grpSp>
        <p:sp>
          <p:nvSpPr>
            <p:cNvPr id="61" name="직사각형 60"/>
            <p:cNvSpPr/>
            <p:nvPr/>
          </p:nvSpPr>
          <p:spPr>
            <a:xfrm>
              <a:off x="1688002" y="2920366"/>
              <a:ext cx="1535132" cy="1475944"/>
            </a:xfrm>
            <a:prstGeom prst="rect">
              <a:avLst/>
            </a:prstGeom>
            <a:noFill/>
            <a:ln w="9525">
              <a:solidFill>
                <a:schemeClr val="tx1">
                  <a:lumMod val="85000"/>
                  <a:lumOff val="15000"/>
                </a:schemeClr>
              </a:solidFill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latin typeface="+mn-ea"/>
              </a:endParaRP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1694352" y="3257064"/>
              <a:ext cx="767566" cy="737972"/>
            </a:xfrm>
            <a:prstGeom prst="rect">
              <a:avLst/>
            </a:prstGeom>
            <a:noFill/>
            <a:ln w="9525">
              <a:noFill/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latin typeface="+mn-ea"/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2452393" y="3266589"/>
              <a:ext cx="767566" cy="737972"/>
            </a:xfrm>
            <a:prstGeom prst="rect">
              <a:avLst/>
            </a:prstGeom>
            <a:noFill/>
            <a:ln w="9525">
              <a:noFill/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latin typeface="+mn-ea"/>
              </a:endParaRP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1703877" y="3983453"/>
              <a:ext cx="767566" cy="737972"/>
            </a:xfrm>
            <a:prstGeom prst="rect">
              <a:avLst/>
            </a:prstGeom>
            <a:noFill/>
            <a:ln w="9525">
              <a:noFill/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latin typeface="+mn-ea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2473069" y="730978"/>
              <a:ext cx="767566" cy="737972"/>
            </a:xfrm>
            <a:prstGeom prst="rect">
              <a:avLst/>
            </a:prstGeom>
            <a:noFill/>
            <a:ln w="9525">
              <a:noFill/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latin typeface="+mn-ea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1699153" y="739304"/>
              <a:ext cx="1535132" cy="1475944"/>
            </a:xfrm>
            <a:prstGeom prst="rect">
              <a:avLst/>
            </a:prstGeom>
            <a:noFill/>
            <a:ln w="9525">
              <a:solidFill>
                <a:schemeClr val="tx1">
                  <a:lumMod val="85000"/>
                  <a:lumOff val="15000"/>
                </a:schemeClr>
              </a:solidFill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>
                <a:latin typeface="+mn-ea"/>
              </a:endParaRPr>
            </a:p>
          </p:txBody>
        </p:sp>
        <p:grpSp>
          <p:nvGrpSpPr>
            <p:cNvPr id="67" name="그룹 66"/>
            <p:cNvGrpSpPr/>
            <p:nvPr/>
          </p:nvGrpSpPr>
          <p:grpSpPr>
            <a:xfrm>
              <a:off x="1694352" y="1476558"/>
              <a:ext cx="1535132" cy="1475944"/>
              <a:chOff x="4085927" y="2780928"/>
              <a:chExt cx="1535132" cy="1475944"/>
            </a:xfrm>
            <a:scene3d>
              <a:camera prst="orthographicFront">
                <a:rot lat="2562000" lon="17496000" rev="16932000"/>
              </a:camera>
              <a:lightRig rig="threePt" dir="t"/>
            </a:scene3d>
          </p:grpSpPr>
          <p:sp>
            <p:nvSpPr>
              <p:cNvPr id="106" name="직사각형 105"/>
              <p:cNvSpPr/>
              <p:nvPr/>
            </p:nvSpPr>
            <p:spPr>
              <a:xfrm>
                <a:off x="4085927" y="2780928"/>
                <a:ext cx="1535132" cy="1475944"/>
              </a:xfrm>
              <a:prstGeom prst="rect">
                <a:avLst/>
              </a:prstGeom>
              <a:noFill/>
              <a:ln w="952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7" name="직사각형 106"/>
              <p:cNvSpPr/>
              <p:nvPr/>
            </p:nvSpPr>
            <p:spPr>
              <a:xfrm>
                <a:off x="4085927" y="2782986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8" name="직사각형 107"/>
              <p:cNvSpPr/>
              <p:nvPr/>
            </p:nvSpPr>
            <p:spPr>
              <a:xfrm>
                <a:off x="4853493" y="3518900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9" name="직사각형 108"/>
              <p:cNvSpPr/>
              <p:nvPr/>
            </p:nvSpPr>
            <p:spPr>
              <a:xfrm>
                <a:off x="4085927" y="3518900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</p:grpSp>
        <p:grpSp>
          <p:nvGrpSpPr>
            <p:cNvPr id="68" name="그룹 67"/>
            <p:cNvGrpSpPr/>
            <p:nvPr/>
          </p:nvGrpSpPr>
          <p:grpSpPr>
            <a:xfrm>
              <a:off x="1688002" y="2249314"/>
              <a:ext cx="1535132" cy="1475944"/>
              <a:chOff x="4085927" y="2780928"/>
              <a:chExt cx="1535132" cy="1475944"/>
            </a:xfrm>
            <a:scene3d>
              <a:camera prst="orthographicFront">
                <a:rot lat="2562000" lon="17496000" rev="16932000"/>
              </a:camera>
              <a:lightRig rig="threePt" dir="t"/>
            </a:scene3d>
          </p:grpSpPr>
          <p:sp>
            <p:nvSpPr>
              <p:cNvPr id="101" name="직사각형 100"/>
              <p:cNvSpPr/>
              <p:nvPr/>
            </p:nvSpPr>
            <p:spPr>
              <a:xfrm>
                <a:off x="4085927" y="2780928"/>
                <a:ext cx="1535132" cy="1475944"/>
              </a:xfrm>
              <a:prstGeom prst="rect">
                <a:avLst/>
              </a:prstGeom>
              <a:noFill/>
              <a:ln w="952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2" name="직사각형 101"/>
              <p:cNvSpPr/>
              <p:nvPr/>
            </p:nvSpPr>
            <p:spPr>
              <a:xfrm>
                <a:off x="4085927" y="2782986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3" name="직사각형 102"/>
              <p:cNvSpPr/>
              <p:nvPr/>
            </p:nvSpPr>
            <p:spPr>
              <a:xfrm>
                <a:off x="4843968" y="2792511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4" name="직사각형 103"/>
              <p:cNvSpPr/>
              <p:nvPr/>
            </p:nvSpPr>
            <p:spPr>
              <a:xfrm>
                <a:off x="4843968" y="3509375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105" name="직사각형 104"/>
              <p:cNvSpPr/>
              <p:nvPr/>
            </p:nvSpPr>
            <p:spPr>
              <a:xfrm>
                <a:off x="4095452" y="3509375"/>
                <a:ext cx="767566" cy="737972"/>
              </a:xfrm>
              <a:prstGeom prst="rect">
                <a:avLst/>
              </a:prstGeom>
              <a:solidFill>
                <a:srgbClr val="D7E4B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solidFill>
                      <a:srgbClr val="0066FF"/>
                    </a:solidFill>
                    <a:latin typeface="+mn-ea"/>
                  </a:rPr>
                  <a:t>P3</a:t>
                </a:r>
                <a:endParaRPr lang="ko-KR" altLang="en-US" sz="1000" dirty="0">
                  <a:solidFill>
                    <a:srgbClr val="0066FF"/>
                  </a:solidFill>
                  <a:latin typeface="+mn-ea"/>
                </a:endParaRPr>
              </a:p>
            </p:txBody>
          </p:sp>
        </p:grpSp>
        <p:cxnSp>
          <p:nvCxnSpPr>
            <p:cNvPr id="69" name="직선 연결선 68"/>
            <p:cNvCxnSpPr/>
            <p:nvPr/>
          </p:nvCxnSpPr>
          <p:spPr>
            <a:xfrm flipH="1">
              <a:off x="1379971" y="1416434"/>
              <a:ext cx="20682" cy="288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직선 연결선 69"/>
            <p:cNvCxnSpPr/>
            <p:nvPr/>
          </p:nvCxnSpPr>
          <p:spPr>
            <a:xfrm flipH="1">
              <a:off x="3528776" y="1530965"/>
              <a:ext cx="20682" cy="288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그룹 70"/>
            <p:cNvGrpSpPr/>
            <p:nvPr/>
          </p:nvGrpSpPr>
          <p:grpSpPr>
            <a:xfrm>
              <a:off x="1694352" y="3609240"/>
              <a:ext cx="1535132" cy="1475944"/>
              <a:chOff x="1694352" y="4617352"/>
              <a:chExt cx="1535132" cy="1475944"/>
            </a:xfrm>
          </p:grpSpPr>
          <p:grpSp>
            <p:nvGrpSpPr>
              <p:cNvPr id="94" name="그룹 93"/>
              <p:cNvGrpSpPr/>
              <p:nvPr/>
            </p:nvGrpSpPr>
            <p:grpSpPr>
              <a:xfrm>
                <a:off x="1694352" y="4617352"/>
                <a:ext cx="1535132" cy="1475944"/>
                <a:chOff x="4085927" y="2780928"/>
                <a:chExt cx="1535132" cy="1475944"/>
              </a:xfrm>
              <a:scene3d>
                <a:camera prst="orthographicFront">
                  <a:rot lat="2562000" lon="17496000" rev="16932000"/>
                </a:camera>
                <a:lightRig rig="threePt" dir="t"/>
              </a:scene3d>
            </p:grpSpPr>
            <p:sp>
              <p:nvSpPr>
                <p:cNvPr id="96" name="직사각형 95"/>
                <p:cNvSpPr/>
                <p:nvPr/>
              </p:nvSpPr>
              <p:spPr>
                <a:xfrm>
                  <a:off x="4085927" y="2780928"/>
                  <a:ext cx="1535132" cy="1475944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85000"/>
                      <a:lumOff val="1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000">
                    <a:latin typeface="+mn-ea"/>
                  </a:endParaRPr>
                </a:p>
              </p:txBody>
            </p:sp>
            <p:sp>
              <p:nvSpPr>
                <p:cNvPr id="97" name="직사각형 96"/>
                <p:cNvSpPr/>
                <p:nvPr/>
              </p:nvSpPr>
              <p:spPr>
                <a:xfrm>
                  <a:off x="4092277" y="2789335"/>
                  <a:ext cx="770868" cy="741147"/>
                </a:xfrm>
                <a:prstGeom prst="rect">
                  <a:avLst/>
                </a:prstGeom>
                <a:solidFill>
                  <a:srgbClr val="ABB9BF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000">
                    <a:latin typeface="+mn-ea"/>
                  </a:endParaRPr>
                </a:p>
              </p:txBody>
            </p:sp>
            <p:sp>
              <p:nvSpPr>
                <p:cNvPr id="98" name="직사각형 97"/>
                <p:cNvSpPr/>
                <p:nvPr/>
              </p:nvSpPr>
              <p:spPr>
                <a:xfrm>
                  <a:off x="4843149" y="2792511"/>
                  <a:ext cx="767566" cy="737972"/>
                </a:xfrm>
                <a:prstGeom prst="rect">
                  <a:avLst/>
                </a:prstGeom>
                <a:solidFill>
                  <a:srgbClr val="DDDDD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000">
                    <a:latin typeface="+mn-ea"/>
                  </a:endParaRPr>
                </a:p>
              </p:txBody>
            </p:sp>
            <p:sp>
              <p:nvSpPr>
                <p:cNvPr id="99" name="직사각형 98"/>
                <p:cNvSpPr/>
                <p:nvPr/>
              </p:nvSpPr>
              <p:spPr>
                <a:xfrm>
                  <a:off x="4843968" y="3509375"/>
                  <a:ext cx="767566" cy="737972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000">
                    <a:latin typeface="+mn-ea"/>
                  </a:endParaRPr>
                </a:p>
              </p:txBody>
            </p:sp>
            <p:sp>
              <p:nvSpPr>
                <p:cNvPr id="100" name="직사각형 99"/>
                <p:cNvSpPr/>
                <p:nvPr/>
              </p:nvSpPr>
              <p:spPr>
                <a:xfrm>
                  <a:off x="4095452" y="3518899"/>
                  <a:ext cx="757659" cy="728447"/>
                </a:xfrm>
                <a:prstGeom prst="rect">
                  <a:avLst/>
                </a:prstGeom>
                <a:solidFill>
                  <a:srgbClr val="D7E4B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000">
                    <a:latin typeface="+mn-ea"/>
                  </a:endParaRPr>
                </a:p>
              </p:txBody>
            </p:sp>
          </p:grpSp>
          <p:sp>
            <p:nvSpPr>
              <p:cNvPr id="95" name="TextBox 94"/>
              <p:cNvSpPr txBox="1"/>
              <p:nvPr/>
            </p:nvSpPr>
            <p:spPr>
              <a:xfrm>
                <a:off x="2033380" y="5156357"/>
                <a:ext cx="838691" cy="40011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en-US" altLang="ko-KR" sz="10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Blockchain</a:t>
                </a:r>
                <a:r>
                  <a:rPr lang="en-US" altLang="ko-KR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/>
                </a:r>
                <a:br>
                  <a:rPr lang="en-US" altLang="ko-KR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</a:br>
                <a:r>
                  <a:rPr lang="en-US" altLang="ko-KR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Network</a:t>
                </a:r>
              </a:p>
            </p:txBody>
          </p:sp>
        </p:grpSp>
        <p:sp>
          <p:nvSpPr>
            <p:cNvPr id="72" name="직사각형 71"/>
            <p:cNvSpPr/>
            <p:nvPr/>
          </p:nvSpPr>
          <p:spPr>
            <a:xfrm>
              <a:off x="2075152" y="3146774"/>
              <a:ext cx="767566" cy="737972"/>
            </a:xfrm>
            <a:prstGeom prst="rect">
              <a:avLst/>
            </a:prstGeom>
            <a:solidFill>
              <a:srgbClr val="ABB9BF"/>
            </a:solidFill>
            <a:ln w="9525">
              <a:noFill/>
            </a:ln>
            <a:scene3d>
              <a:camera prst="orthographicFront">
                <a:rot lat="2562000" lon="17496000" rev="16932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00" dirty="0" smtClean="0">
                  <a:latin typeface="+mn-ea"/>
                </a:rPr>
                <a:t>P1</a:t>
              </a:r>
              <a:endParaRPr lang="ko-KR" altLang="en-US" sz="1000" dirty="0">
                <a:latin typeface="+mn-ea"/>
              </a:endParaRPr>
            </a:p>
          </p:txBody>
        </p:sp>
        <p:grpSp>
          <p:nvGrpSpPr>
            <p:cNvPr id="73" name="그룹 72"/>
            <p:cNvGrpSpPr/>
            <p:nvPr/>
          </p:nvGrpSpPr>
          <p:grpSpPr>
            <a:xfrm>
              <a:off x="883420" y="957930"/>
              <a:ext cx="3380320" cy="1102918"/>
              <a:chOff x="883420" y="1101946"/>
              <a:chExt cx="3380320" cy="1102918"/>
            </a:xfrm>
          </p:grpSpPr>
          <p:sp>
            <p:nvSpPr>
              <p:cNvPr id="85" name="직사각형 84"/>
              <p:cNvSpPr/>
              <p:nvPr/>
            </p:nvSpPr>
            <p:spPr>
              <a:xfrm>
                <a:off x="2075152" y="1101946"/>
                <a:ext cx="767566" cy="737972"/>
              </a:xfrm>
              <a:prstGeom prst="rect">
                <a:avLst/>
              </a:prstGeom>
              <a:solidFill>
                <a:srgbClr val="ABB9BF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latin typeface="+mn-ea"/>
                  </a:rPr>
                  <a:t>P1</a:t>
                </a:r>
                <a:endParaRPr lang="ko-KR" altLang="en-US" sz="1000" dirty="0">
                  <a:latin typeface="+mn-ea"/>
                </a:endParaRPr>
              </a:p>
            </p:txBody>
          </p:sp>
          <p:sp>
            <p:nvSpPr>
              <p:cNvPr id="86" name="직사각형 85"/>
              <p:cNvSpPr/>
              <p:nvPr/>
            </p:nvSpPr>
            <p:spPr>
              <a:xfrm>
                <a:off x="2473069" y="1466892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87" name="직사각형 86"/>
              <p:cNvSpPr/>
              <p:nvPr/>
            </p:nvSpPr>
            <p:spPr>
              <a:xfrm>
                <a:off x="1705503" y="1466892"/>
                <a:ext cx="767566" cy="737972"/>
              </a:xfrm>
              <a:prstGeom prst="rect">
                <a:avLst/>
              </a:prstGeom>
              <a:noFill/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>
                  <a:latin typeface="+mn-ea"/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883420" y="1446892"/>
                <a:ext cx="5709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조직 </a:t>
                </a:r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A</a:t>
                </a: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3291789" y="1481901"/>
                <a:ext cx="971951" cy="40174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제휴사</a:t>
                </a:r>
                <a:r>
                  <a:rPr lang="en-US" altLang="ko-KR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A</a:t>
                </a:r>
                <a:endParaRPr lang="en-US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90" name="직사각형 89"/>
              <p:cNvSpPr/>
              <p:nvPr/>
            </p:nvSpPr>
            <p:spPr>
              <a:xfrm>
                <a:off x="2604793" y="1276380"/>
                <a:ext cx="767566" cy="737972"/>
              </a:xfrm>
              <a:prstGeom prst="rect">
                <a:avLst/>
              </a:prstGeom>
              <a:solidFill>
                <a:srgbClr val="DDDDDD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solidFill>
                      <a:srgbClr val="0066FF"/>
                    </a:solidFill>
                    <a:latin typeface="+mn-ea"/>
                  </a:rPr>
                  <a:t>P2</a:t>
                </a:r>
                <a:endParaRPr lang="ko-KR" altLang="en-US" sz="1000" dirty="0">
                  <a:solidFill>
                    <a:srgbClr val="0066FF"/>
                  </a:solidFill>
                  <a:latin typeface="+mn-ea"/>
                </a:endParaRPr>
              </a:p>
            </p:txBody>
          </p:sp>
          <p:sp>
            <p:nvSpPr>
              <p:cNvPr id="91" name="직사각형 90"/>
              <p:cNvSpPr/>
              <p:nvPr/>
            </p:nvSpPr>
            <p:spPr>
              <a:xfrm>
                <a:off x="1529046" y="1227232"/>
                <a:ext cx="767566" cy="737972"/>
              </a:xfrm>
              <a:prstGeom prst="rect">
                <a:avLst/>
              </a:prstGeom>
              <a:solidFill>
                <a:srgbClr val="D7E4BD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solidFill>
                      <a:srgbClr val="0066FF"/>
                    </a:solidFill>
                    <a:latin typeface="+mn-ea"/>
                  </a:rPr>
                  <a:t>P3</a:t>
                </a:r>
                <a:endParaRPr lang="ko-KR" altLang="en-US" sz="1000" dirty="0">
                  <a:solidFill>
                    <a:srgbClr val="0066FF"/>
                  </a:solidFill>
                  <a:latin typeface="+mn-ea"/>
                </a:endParaRPr>
              </a:p>
            </p:txBody>
          </p:sp>
          <p:sp>
            <p:nvSpPr>
              <p:cNvPr id="92" name="직사각형 91"/>
              <p:cNvSpPr/>
              <p:nvPr/>
            </p:nvSpPr>
            <p:spPr>
              <a:xfrm>
                <a:off x="2093977" y="1394884"/>
                <a:ext cx="767566" cy="737972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latin typeface="+mn-ea"/>
                  </a:rPr>
                  <a:t>P4</a:t>
                </a:r>
                <a:endParaRPr lang="ko-KR" altLang="en-US" sz="1000" dirty="0">
                  <a:latin typeface="+mn-ea"/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2131687" y="1469984"/>
                <a:ext cx="7312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en-US" altLang="ko-KR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channel0</a:t>
                </a:r>
                <a:endParaRPr lang="en-US" altLang="ko-KR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</p:grpSp>
        <p:grpSp>
          <p:nvGrpSpPr>
            <p:cNvPr id="74" name="그룹 73"/>
            <p:cNvGrpSpPr/>
            <p:nvPr/>
          </p:nvGrpSpPr>
          <p:grpSpPr>
            <a:xfrm>
              <a:off x="883420" y="3264440"/>
              <a:ext cx="3385081" cy="737972"/>
              <a:chOff x="883420" y="4092312"/>
              <a:chExt cx="3385081" cy="737972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883420" y="4313211"/>
                <a:ext cx="5709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조직 </a:t>
                </a:r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A</a:t>
                </a: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3287026" y="4348527"/>
                <a:ext cx="981475" cy="40175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제휴사</a:t>
                </a:r>
                <a:r>
                  <a:rPr lang="en-US" altLang="ko-KR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D</a:t>
                </a:r>
                <a:endParaRPr lang="en-US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83" name="직사각형 82"/>
              <p:cNvSpPr/>
              <p:nvPr/>
            </p:nvSpPr>
            <p:spPr>
              <a:xfrm>
                <a:off x="1535004" y="4092312"/>
                <a:ext cx="767566" cy="737972"/>
              </a:xfrm>
              <a:prstGeom prst="rect">
                <a:avLst/>
              </a:prstGeom>
              <a:solidFill>
                <a:srgbClr val="D7E4BD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solidFill>
                      <a:srgbClr val="0066FF"/>
                    </a:solidFill>
                    <a:latin typeface="+mn-ea"/>
                  </a:rPr>
                  <a:t>P3</a:t>
                </a:r>
                <a:endParaRPr lang="ko-KR" altLang="en-US" sz="1000" dirty="0">
                  <a:solidFill>
                    <a:srgbClr val="0066FF"/>
                  </a:solidFill>
                  <a:latin typeface="+mn-ea"/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2000519" y="4358592"/>
                <a:ext cx="988057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latinLnBrk="0"/>
                <a:r>
                  <a:rPr lang="en-US" altLang="ko-KR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channel3</a:t>
                </a:r>
                <a:endParaRPr lang="en-US" altLang="ko-KR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</p:grpSp>
        <p:grpSp>
          <p:nvGrpSpPr>
            <p:cNvPr id="75" name="그룹 74"/>
            <p:cNvGrpSpPr/>
            <p:nvPr/>
          </p:nvGrpSpPr>
          <p:grpSpPr>
            <a:xfrm>
              <a:off x="883420" y="2468284"/>
              <a:ext cx="3377936" cy="1038530"/>
              <a:chOff x="883420" y="2966534"/>
              <a:chExt cx="3377936" cy="1038530"/>
            </a:xfrm>
          </p:grpSpPr>
          <p:sp>
            <p:nvSpPr>
              <p:cNvPr id="76" name="직사각형 75"/>
              <p:cNvSpPr/>
              <p:nvPr/>
            </p:nvSpPr>
            <p:spPr>
              <a:xfrm>
                <a:off x="2057906" y="3267092"/>
                <a:ext cx="767566" cy="737972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latin typeface="+mn-ea"/>
                  </a:rPr>
                  <a:t>P4</a:t>
                </a:r>
                <a:endParaRPr lang="ko-KR" altLang="en-US" sz="1000" dirty="0">
                  <a:latin typeface="+mn-ea"/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883420" y="3294274"/>
                <a:ext cx="5709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조직 </a:t>
                </a:r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A</a:t>
                </a: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3294167" y="3329590"/>
                <a:ext cx="967189" cy="40174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ko-KR" altLang="en-US" sz="10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제휴사</a:t>
                </a:r>
                <a:r>
                  <a:rPr lang="en-US" altLang="ko-KR" sz="10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C</a:t>
                </a:r>
                <a:endParaRPr lang="en-US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  <p:sp>
            <p:nvSpPr>
              <p:cNvPr id="79" name="직사각형 78"/>
              <p:cNvSpPr/>
              <p:nvPr/>
            </p:nvSpPr>
            <p:spPr>
              <a:xfrm>
                <a:off x="2057906" y="2966534"/>
                <a:ext cx="767566" cy="737972"/>
              </a:xfrm>
              <a:prstGeom prst="rect">
                <a:avLst/>
              </a:prstGeom>
              <a:solidFill>
                <a:srgbClr val="ABB9BF"/>
              </a:solidFill>
              <a:ln w="9525">
                <a:noFill/>
              </a:ln>
              <a:scene3d>
                <a:camera prst="orthographicFront">
                  <a:rot lat="2562000" lon="17496000" rev="16932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latin typeface="+mn-ea"/>
                  </a:rPr>
                  <a:t>P1</a:t>
                </a:r>
                <a:endParaRPr lang="ko-KR" altLang="en-US" sz="1000" dirty="0">
                  <a:latin typeface="+mn-ea"/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2131687" y="3345178"/>
                <a:ext cx="731289" cy="24622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 latinLnBrk="0"/>
                <a:r>
                  <a:rPr lang="en-US" altLang="ko-KR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</a:rPr>
                  <a:t>channel2</a:t>
                </a:r>
                <a:endParaRPr lang="en-US" altLang="ko-KR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endParaRPr>
              </a:p>
            </p:txBody>
          </p:sp>
        </p:grpSp>
      </p:grpSp>
      <p:sp>
        <p:nvSpPr>
          <p:cNvPr id="4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</a:t>
            </a:r>
            <a:r>
              <a:rPr lang="en-US" altLang="ko-KR" dirty="0" smtClean="0"/>
              <a:t> Network </a:t>
            </a:r>
            <a:r>
              <a:rPr lang="ko-KR" altLang="en-US" dirty="0" smtClean="0"/>
              <a:t>구성</a:t>
            </a:r>
            <a:endParaRPr lang="ko-KR" altLang="en-US" dirty="0"/>
          </a:p>
        </p:txBody>
      </p:sp>
      <p:sp>
        <p:nvSpPr>
          <p:cNvPr id="5" name="직사각형 5"/>
          <p:cNvSpPr>
            <a:spLocks noChangeArrowheads="1"/>
          </p:cNvSpPr>
          <p:nvPr/>
        </p:nvSpPr>
        <p:spPr bwMode="auto">
          <a:xfrm>
            <a:off x="321409" y="561758"/>
            <a:ext cx="9577162" cy="35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0" bIns="3600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-</a:t>
            </a:r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폰의 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erver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들은 하나의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loud VM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설치하여 수행하였으며 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etwork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은 아래와 같습니다</a:t>
            </a:r>
            <a:r>
              <a:rPr lang="en-US" altLang="ko-KR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4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4" name="그룹 33"/>
          <p:cNvGrpSpPr/>
          <p:nvPr/>
        </p:nvGrpSpPr>
        <p:grpSpPr>
          <a:xfrm>
            <a:off x="486990" y="2636914"/>
            <a:ext cx="948953" cy="714539"/>
            <a:chOff x="1177504" y="3429000"/>
            <a:chExt cx="1190228" cy="896213"/>
          </a:xfrm>
        </p:grpSpPr>
        <p:sp>
          <p:nvSpPr>
            <p:cNvPr id="31" name="모서리가 둥근 직사각형 30"/>
            <p:cNvSpPr/>
            <p:nvPr/>
          </p:nvSpPr>
          <p:spPr>
            <a:xfrm>
              <a:off x="1392182" y="3429000"/>
              <a:ext cx="739788" cy="43200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이등변 삼각형 31"/>
            <p:cNvSpPr/>
            <p:nvPr/>
          </p:nvSpPr>
          <p:spPr>
            <a:xfrm>
              <a:off x="1428186" y="3873748"/>
              <a:ext cx="667780" cy="175731"/>
            </a:xfrm>
            <a:prstGeom prst="triangl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177504" y="4016389"/>
              <a:ext cx="1190228" cy="308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lang="ko-KR" altLang="en-US" sz="10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Web</a:t>
              </a:r>
              <a:endParaRPr lang="ko-KR" altLang="en-US" sz="10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5" name="그룹 34"/>
          <p:cNvGrpSpPr/>
          <p:nvPr/>
        </p:nvGrpSpPr>
        <p:grpSpPr>
          <a:xfrm>
            <a:off x="486990" y="1772816"/>
            <a:ext cx="948953" cy="664626"/>
            <a:chOff x="1177504" y="3429000"/>
            <a:chExt cx="1190228" cy="833610"/>
          </a:xfrm>
        </p:grpSpPr>
        <p:sp>
          <p:nvSpPr>
            <p:cNvPr id="36" name="모서리가 둥근 직사각형 35"/>
            <p:cNvSpPr/>
            <p:nvPr/>
          </p:nvSpPr>
          <p:spPr>
            <a:xfrm>
              <a:off x="1392182" y="3429000"/>
              <a:ext cx="739788" cy="43200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이등변 삼각형 36"/>
            <p:cNvSpPr/>
            <p:nvPr/>
          </p:nvSpPr>
          <p:spPr>
            <a:xfrm>
              <a:off x="1428186" y="3873748"/>
              <a:ext cx="667780" cy="175731"/>
            </a:xfrm>
            <a:prstGeom prst="triangl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177504" y="4016389"/>
              <a:ext cx="1190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SKT</a:t>
              </a:r>
              <a:r>
                <a:rPr lang="ko-KR" altLang="en-US" sz="10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Web</a:t>
              </a:r>
              <a:endParaRPr lang="ko-KR" altLang="en-US" sz="10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486990" y="3394209"/>
            <a:ext cx="948953" cy="664626"/>
            <a:chOff x="1177504" y="3429000"/>
            <a:chExt cx="1190228" cy="833610"/>
          </a:xfrm>
        </p:grpSpPr>
        <p:sp>
          <p:nvSpPr>
            <p:cNvPr id="40" name="모서리가 둥근 직사각형 39"/>
            <p:cNvSpPr/>
            <p:nvPr/>
          </p:nvSpPr>
          <p:spPr>
            <a:xfrm>
              <a:off x="1392182" y="3429000"/>
              <a:ext cx="739788" cy="43200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이등변 삼각형 40"/>
            <p:cNvSpPr/>
            <p:nvPr/>
          </p:nvSpPr>
          <p:spPr>
            <a:xfrm>
              <a:off x="1428186" y="3873748"/>
              <a:ext cx="667780" cy="175731"/>
            </a:xfrm>
            <a:prstGeom prst="triangl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177504" y="4016389"/>
              <a:ext cx="1190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00" dirty="0" err="1" smtClean="0"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lang="ko-KR" altLang="en-US" sz="10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1000" dirty="0" smtClean="0">
                  <a:latin typeface="맑은 고딕" pitchFamily="50" charset="-127"/>
                  <a:ea typeface="맑은 고딕" pitchFamily="50" charset="-127"/>
                </a:rPr>
                <a:t>Web</a:t>
              </a:r>
              <a:endParaRPr lang="ko-KR" altLang="en-US" sz="1000" dirty="0" err="1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15" name="그룹 114"/>
          <p:cNvGrpSpPr/>
          <p:nvPr/>
        </p:nvGrpSpPr>
        <p:grpSpPr>
          <a:xfrm>
            <a:off x="2461514" y="1412776"/>
            <a:ext cx="1744159" cy="371389"/>
            <a:chOff x="2045433" y="3212952"/>
            <a:chExt cx="1744159" cy="371389"/>
          </a:xfrm>
        </p:grpSpPr>
        <p:sp>
          <p:nvSpPr>
            <p:cNvPr id="45" name="모서리가 둥근 직사각형 44"/>
            <p:cNvSpPr/>
            <p:nvPr/>
          </p:nvSpPr>
          <p:spPr>
            <a:xfrm>
              <a:off x="2107916" y="3212952"/>
              <a:ext cx="1681676" cy="37138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r"/>
              <a:r>
                <a:rPr lang="en-US" altLang="ko-KR" sz="10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dmin(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T)</a:t>
              </a:r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2045433" y="3305799"/>
              <a:ext cx="484348" cy="1856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58" name="그룹 57"/>
          <p:cNvGrpSpPr/>
          <p:nvPr/>
        </p:nvGrpSpPr>
        <p:grpSpPr>
          <a:xfrm>
            <a:off x="6657639" y="1196752"/>
            <a:ext cx="2597502" cy="4752528"/>
            <a:chOff x="4209367" y="1196752"/>
            <a:chExt cx="2597502" cy="4752528"/>
          </a:xfrm>
        </p:grpSpPr>
        <p:sp>
          <p:nvSpPr>
            <p:cNvPr id="3" name="직사각형 23"/>
            <p:cNvSpPr>
              <a:spLocks noChangeArrowheads="1"/>
            </p:cNvSpPr>
            <p:nvPr/>
          </p:nvSpPr>
          <p:spPr bwMode="auto">
            <a:xfrm>
              <a:off x="4209367" y="1196752"/>
              <a:ext cx="2597502" cy="4752528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  <a:extLst/>
          </p:spPr>
          <p:txBody>
            <a:bodyPr wrap="none" anchor="t"/>
            <a:lstStyle/>
            <a:p>
              <a:pPr algn="ctr"/>
              <a:r>
                <a:rPr lang="en-US" altLang="ko-KR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Hyperledger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Fabric</a:t>
              </a:r>
              <a:endPara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55" name="그룹 54"/>
            <p:cNvGrpSpPr/>
            <p:nvPr/>
          </p:nvGrpSpPr>
          <p:grpSpPr>
            <a:xfrm>
              <a:off x="4784161" y="1556792"/>
              <a:ext cx="1624527" cy="360363"/>
              <a:chOff x="4090889" y="1556792"/>
              <a:chExt cx="1624527" cy="360363"/>
            </a:xfrm>
          </p:grpSpPr>
          <p:sp>
            <p:nvSpPr>
              <p:cNvPr id="6" name="직사각형 23"/>
              <p:cNvSpPr>
                <a:spLocks noChangeArrowheads="1"/>
              </p:cNvSpPr>
              <p:nvPr/>
            </p:nvSpPr>
            <p:spPr bwMode="auto">
              <a:xfrm>
                <a:off x="4143847" y="1556792"/>
                <a:ext cx="1571569" cy="360363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wrap="none" anchor="ctr"/>
              <a:lstStyle/>
              <a:p>
                <a:pPr algn="r"/>
                <a:r>
                  <a:rPr lang="en-US" altLang="ko-KR" sz="10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Order Service </a:t>
                </a:r>
              </a:p>
              <a:p>
                <a:pPr algn="r"/>
                <a:r>
                  <a:rPr lang="en-US" altLang="ko-KR" sz="10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node</a:t>
                </a:r>
                <a:endParaRPr lang="ko-KR" altLang="en-US" sz="100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7" name="직사각형 46"/>
              <p:cNvSpPr/>
              <p:nvPr/>
            </p:nvSpPr>
            <p:spPr>
              <a:xfrm>
                <a:off x="4090889" y="1644127"/>
                <a:ext cx="484348" cy="185694"/>
              </a:xfrm>
              <a:prstGeom prst="rect">
                <a:avLst/>
              </a:prstGeom>
              <a:solidFill>
                <a:srgbClr val="C8E4DF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1000" dirty="0" smtClean="0">
                    <a:solidFill>
                      <a:srgbClr val="0066FF"/>
                    </a:solidFill>
                  </a:rPr>
                  <a:t>7050</a:t>
                </a:r>
                <a:endParaRPr lang="ko-KR" altLang="en-US" sz="1000" dirty="0" smtClean="0">
                  <a:solidFill>
                    <a:srgbClr val="0066FF"/>
                  </a:solidFill>
                </a:endParaRPr>
              </a:p>
            </p:txBody>
          </p:sp>
        </p:grpSp>
        <p:grpSp>
          <p:nvGrpSpPr>
            <p:cNvPr id="56" name="그룹 55"/>
            <p:cNvGrpSpPr/>
            <p:nvPr/>
          </p:nvGrpSpPr>
          <p:grpSpPr>
            <a:xfrm>
              <a:off x="4784161" y="2060525"/>
              <a:ext cx="1623212" cy="360363"/>
              <a:chOff x="4090889" y="2060525"/>
              <a:chExt cx="1623212" cy="360363"/>
            </a:xfrm>
          </p:grpSpPr>
          <p:sp>
            <p:nvSpPr>
              <p:cNvPr id="10" name="직사각형 23"/>
              <p:cNvSpPr>
                <a:spLocks noChangeArrowheads="1"/>
              </p:cNvSpPr>
              <p:nvPr/>
            </p:nvSpPr>
            <p:spPr bwMode="auto">
              <a:xfrm>
                <a:off x="4142532" y="2060525"/>
                <a:ext cx="1571569" cy="360363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wrap="none" anchor="ctr"/>
              <a:lstStyle/>
              <a:p>
                <a:pPr algn="r"/>
                <a:r>
                  <a:rPr lang="en-US" altLang="ko-KR" sz="10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Endorsing</a:t>
                </a:r>
              </a:p>
              <a:p>
                <a:pPr algn="r"/>
                <a:r>
                  <a:rPr lang="en-US" altLang="ko-KR" sz="10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Peer</a:t>
                </a:r>
                <a:endParaRPr lang="ko-KR" altLang="en-US" sz="100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8" name="직사각형 47"/>
              <p:cNvSpPr/>
              <p:nvPr/>
            </p:nvSpPr>
            <p:spPr>
              <a:xfrm>
                <a:off x="4090889" y="2145105"/>
                <a:ext cx="484348" cy="185694"/>
              </a:xfrm>
              <a:prstGeom prst="rect">
                <a:avLst/>
              </a:prstGeom>
              <a:solidFill>
                <a:srgbClr val="C8E4DF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>
                  <a:solidFill>
                    <a:srgbClr val="0066FF"/>
                  </a:solidFill>
                </a:endParaRPr>
              </a:p>
            </p:txBody>
          </p:sp>
        </p:grpSp>
        <p:grpSp>
          <p:nvGrpSpPr>
            <p:cNvPr id="57" name="그룹 56"/>
            <p:cNvGrpSpPr/>
            <p:nvPr/>
          </p:nvGrpSpPr>
          <p:grpSpPr>
            <a:xfrm>
              <a:off x="4789916" y="2600746"/>
              <a:ext cx="1613172" cy="360363"/>
              <a:chOff x="4096644" y="2600746"/>
              <a:chExt cx="1613172" cy="360363"/>
            </a:xfrm>
          </p:grpSpPr>
          <p:sp>
            <p:nvSpPr>
              <p:cNvPr id="11" name="직사각형 23"/>
              <p:cNvSpPr>
                <a:spLocks noChangeArrowheads="1"/>
              </p:cNvSpPr>
              <p:nvPr/>
            </p:nvSpPr>
            <p:spPr bwMode="auto">
              <a:xfrm>
                <a:off x="4138247" y="2600746"/>
                <a:ext cx="1571569" cy="360363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xtLst/>
            </p:spPr>
            <p:txBody>
              <a:bodyPr wrap="none" anchor="ctr"/>
              <a:lstStyle/>
              <a:p>
                <a:pPr algn="r"/>
                <a:r>
                  <a:rPr lang="en-US" altLang="ko-KR" sz="10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embership </a:t>
                </a:r>
              </a:p>
              <a:p>
                <a:pPr algn="r"/>
                <a:r>
                  <a:rPr lang="en-US" altLang="ko-KR" sz="100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Service</a:t>
                </a:r>
                <a:endParaRPr lang="ko-KR" altLang="en-US" sz="100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9" name="직사각형 48"/>
              <p:cNvSpPr/>
              <p:nvPr/>
            </p:nvSpPr>
            <p:spPr>
              <a:xfrm>
                <a:off x="4096644" y="2688080"/>
                <a:ext cx="484348" cy="185694"/>
              </a:xfrm>
              <a:prstGeom prst="rect">
                <a:avLst/>
              </a:prstGeom>
              <a:solidFill>
                <a:srgbClr val="C8E4DF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000" dirty="0">
                  <a:solidFill>
                    <a:srgbClr val="0066FF"/>
                  </a:solidFill>
                </a:endParaRPr>
              </a:p>
            </p:txBody>
          </p:sp>
        </p:grpSp>
      </p:grpSp>
      <p:grpSp>
        <p:nvGrpSpPr>
          <p:cNvPr id="116" name="그룹 115"/>
          <p:cNvGrpSpPr/>
          <p:nvPr/>
        </p:nvGrpSpPr>
        <p:grpSpPr>
          <a:xfrm>
            <a:off x="2457681" y="1968001"/>
            <a:ext cx="1744159" cy="371389"/>
            <a:chOff x="2045433" y="3212952"/>
            <a:chExt cx="1744159" cy="371389"/>
          </a:xfrm>
        </p:grpSpPr>
        <p:sp>
          <p:nvSpPr>
            <p:cNvPr id="117" name="모서리가 둥근 직사각형 116"/>
            <p:cNvSpPr/>
            <p:nvPr/>
          </p:nvSpPr>
          <p:spPr>
            <a:xfrm>
              <a:off x="2107916" y="3212952"/>
              <a:ext cx="1681676" cy="37138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r"/>
              <a:r>
                <a:rPr lang="ko-KR" altLang="en-US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휴사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</a:t>
              </a:r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8" name="직사각형 117"/>
            <p:cNvSpPr/>
            <p:nvPr/>
          </p:nvSpPr>
          <p:spPr>
            <a:xfrm>
              <a:off x="2045433" y="3305799"/>
              <a:ext cx="484348" cy="1856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r>
                <a:rPr lang="en-US" altLang="ko-KR" sz="1000" dirty="0" smtClean="0">
                  <a:solidFill>
                    <a:srgbClr val="0066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051</a:t>
              </a:r>
              <a:endParaRPr lang="ko-KR" altLang="en-US" sz="100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9" name="그룹 118"/>
          <p:cNvGrpSpPr/>
          <p:nvPr/>
        </p:nvGrpSpPr>
        <p:grpSpPr>
          <a:xfrm>
            <a:off x="2457681" y="2523226"/>
            <a:ext cx="1744159" cy="371389"/>
            <a:chOff x="2045433" y="3212952"/>
            <a:chExt cx="1744159" cy="371389"/>
          </a:xfrm>
        </p:grpSpPr>
        <p:sp>
          <p:nvSpPr>
            <p:cNvPr id="120" name="모서리가 둥근 직사각형 119"/>
            <p:cNvSpPr/>
            <p:nvPr/>
          </p:nvSpPr>
          <p:spPr>
            <a:xfrm>
              <a:off x="2107916" y="3212952"/>
              <a:ext cx="1681676" cy="37138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r"/>
              <a:r>
                <a:rPr lang="ko-KR" altLang="en-US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휴사</a:t>
              </a:r>
              <a:r>
                <a:rPr lang="en-US" altLang="ko-KR" sz="10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</a:t>
              </a:r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1" name="직사각형 120"/>
            <p:cNvSpPr/>
            <p:nvPr/>
          </p:nvSpPr>
          <p:spPr>
            <a:xfrm>
              <a:off x="2045433" y="3305799"/>
              <a:ext cx="484348" cy="1856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r>
                <a:rPr lang="en-US" altLang="ko-KR" sz="1000" dirty="0" smtClean="0">
                  <a:solidFill>
                    <a:srgbClr val="0066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061</a:t>
              </a:r>
              <a:endParaRPr lang="ko-KR" altLang="en-US" sz="100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27" name="그룹 126"/>
          <p:cNvGrpSpPr/>
          <p:nvPr/>
        </p:nvGrpSpPr>
        <p:grpSpPr>
          <a:xfrm>
            <a:off x="2457681" y="3078451"/>
            <a:ext cx="1744159" cy="371389"/>
            <a:chOff x="2045433" y="3212952"/>
            <a:chExt cx="1744159" cy="371389"/>
          </a:xfrm>
        </p:grpSpPr>
        <p:sp>
          <p:nvSpPr>
            <p:cNvPr id="128" name="모서리가 둥근 직사각형 127"/>
            <p:cNvSpPr/>
            <p:nvPr/>
          </p:nvSpPr>
          <p:spPr>
            <a:xfrm>
              <a:off x="2107916" y="3212952"/>
              <a:ext cx="1681676" cy="37138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r"/>
              <a:r>
                <a:rPr lang="ko-KR" altLang="en-US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휴사</a:t>
              </a:r>
              <a:r>
                <a:rPr lang="en-US" altLang="ko-KR" sz="10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C</a:t>
              </a:r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9" name="직사각형 128"/>
            <p:cNvSpPr/>
            <p:nvPr/>
          </p:nvSpPr>
          <p:spPr>
            <a:xfrm>
              <a:off x="2045433" y="3305799"/>
              <a:ext cx="484348" cy="1856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r>
                <a:rPr lang="en-US" altLang="ko-KR" sz="1000" dirty="0" smtClean="0">
                  <a:solidFill>
                    <a:srgbClr val="0066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071</a:t>
              </a:r>
              <a:endParaRPr lang="ko-KR" altLang="en-US" sz="100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30" name="그룹 129"/>
          <p:cNvGrpSpPr/>
          <p:nvPr/>
        </p:nvGrpSpPr>
        <p:grpSpPr>
          <a:xfrm>
            <a:off x="2457681" y="3633675"/>
            <a:ext cx="1744159" cy="371389"/>
            <a:chOff x="2045433" y="3212952"/>
            <a:chExt cx="1744159" cy="371389"/>
          </a:xfrm>
        </p:grpSpPr>
        <p:sp>
          <p:nvSpPr>
            <p:cNvPr id="131" name="모서리가 둥근 직사각형 130"/>
            <p:cNvSpPr/>
            <p:nvPr/>
          </p:nvSpPr>
          <p:spPr>
            <a:xfrm>
              <a:off x="2107916" y="3212952"/>
              <a:ext cx="1681676" cy="37138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r"/>
              <a:r>
                <a:rPr lang="ko-KR" altLang="en-US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휴사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</a:t>
              </a:r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2045433" y="3305799"/>
              <a:ext cx="484348" cy="1856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r>
                <a:rPr lang="en-US" altLang="ko-KR" sz="1000" dirty="0" smtClean="0">
                  <a:solidFill>
                    <a:srgbClr val="0066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081</a:t>
              </a:r>
              <a:endParaRPr lang="ko-KR" altLang="en-US" sz="100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141" name="직선 화살표 연결선 140"/>
          <p:cNvCxnSpPr/>
          <p:nvPr/>
        </p:nvCxnSpPr>
        <p:spPr>
          <a:xfrm flipV="1">
            <a:off x="1352582" y="2158256"/>
            <a:ext cx="1080000" cy="36"/>
          </a:xfrm>
          <a:prstGeom prst="straightConnector1">
            <a:avLst/>
          </a:prstGeom>
          <a:ln>
            <a:solidFill>
              <a:schemeClr val="tx1"/>
            </a:solidFill>
            <a:headEnd w="med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직선 화살표 연결선 142"/>
          <p:cNvCxnSpPr/>
          <p:nvPr/>
        </p:nvCxnSpPr>
        <p:spPr>
          <a:xfrm flipV="1">
            <a:off x="1368128" y="2708884"/>
            <a:ext cx="1080000" cy="36"/>
          </a:xfrm>
          <a:prstGeom prst="straightConnector1">
            <a:avLst/>
          </a:prstGeom>
          <a:ln>
            <a:solidFill>
              <a:schemeClr val="tx1"/>
            </a:solidFill>
            <a:headEnd w="med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직선 화살표 연결선 143"/>
          <p:cNvCxnSpPr/>
          <p:nvPr/>
        </p:nvCxnSpPr>
        <p:spPr>
          <a:xfrm flipV="1">
            <a:off x="1368128" y="3259548"/>
            <a:ext cx="1080000" cy="36"/>
          </a:xfrm>
          <a:prstGeom prst="straightConnector1">
            <a:avLst/>
          </a:prstGeom>
          <a:ln>
            <a:solidFill>
              <a:schemeClr val="tx1"/>
            </a:solidFill>
            <a:headEnd w="med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직선 화살표 연결선 144"/>
          <p:cNvCxnSpPr/>
          <p:nvPr/>
        </p:nvCxnSpPr>
        <p:spPr>
          <a:xfrm flipV="1">
            <a:off x="1374478" y="3814440"/>
            <a:ext cx="1080000" cy="36"/>
          </a:xfrm>
          <a:prstGeom prst="straightConnector1">
            <a:avLst/>
          </a:prstGeom>
          <a:ln>
            <a:solidFill>
              <a:schemeClr val="tx1"/>
            </a:solidFill>
            <a:headEnd w="med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6" name="그룹 155"/>
          <p:cNvGrpSpPr/>
          <p:nvPr/>
        </p:nvGrpSpPr>
        <p:grpSpPr>
          <a:xfrm>
            <a:off x="5855774" y="1717152"/>
            <a:ext cx="48867" cy="3289830"/>
            <a:chOff x="4584673" y="4346505"/>
            <a:chExt cx="48867" cy="1997804"/>
          </a:xfrm>
        </p:grpSpPr>
        <p:cxnSp>
          <p:nvCxnSpPr>
            <p:cNvPr id="153" name="직선 연결선 152"/>
            <p:cNvCxnSpPr/>
            <p:nvPr/>
          </p:nvCxnSpPr>
          <p:spPr>
            <a:xfrm>
              <a:off x="4608488" y="4370320"/>
              <a:ext cx="0" cy="1967544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직사각형 153"/>
            <p:cNvSpPr/>
            <p:nvPr/>
          </p:nvSpPr>
          <p:spPr>
            <a:xfrm>
              <a:off x="4584673" y="4346505"/>
              <a:ext cx="45719" cy="6584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5" name="직사각형 154"/>
            <p:cNvSpPr/>
            <p:nvPr/>
          </p:nvSpPr>
          <p:spPr>
            <a:xfrm>
              <a:off x="4587821" y="6278468"/>
              <a:ext cx="45719" cy="6584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61" name="직선 연결선 160"/>
          <p:cNvCxnSpPr/>
          <p:nvPr/>
        </p:nvCxnSpPr>
        <p:spPr>
          <a:xfrm>
            <a:off x="5881490" y="1726516"/>
            <a:ext cx="1332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직선 연결선 162"/>
          <p:cNvCxnSpPr/>
          <p:nvPr/>
        </p:nvCxnSpPr>
        <p:spPr>
          <a:xfrm>
            <a:off x="5881490" y="2218997"/>
            <a:ext cx="1332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직선 연결선 163"/>
          <p:cNvCxnSpPr/>
          <p:nvPr/>
        </p:nvCxnSpPr>
        <p:spPr>
          <a:xfrm>
            <a:off x="5881490" y="2780928"/>
            <a:ext cx="1332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연결선 164"/>
          <p:cNvCxnSpPr/>
          <p:nvPr/>
        </p:nvCxnSpPr>
        <p:spPr>
          <a:xfrm>
            <a:off x="4217248" y="2167581"/>
            <a:ext cx="1656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직선 연결선 165"/>
          <p:cNvCxnSpPr/>
          <p:nvPr/>
        </p:nvCxnSpPr>
        <p:spPr>
          <a:xfrm>
            <a:off x="4217248" y="2712278"/>
            <a:ext cx="1656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연결선 166"/>
          <p:cNvCxnSpPr/>
          <p:nvPr/>
        </p:nvCxnSpPr>
        <p:spPr>
          <a:xfrm>
            <a:off x="4217248" y="3256975"/>
            <a:ext cx="1656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직선 연결선 167"/>
          <p:cNvCxnSpPr/>
          <p:nvPr/>
        </p:nvCxnSpPr>
        <p:spPr>
          <a:xfrm>
            <a:off x="4217248" y="3801673"/>
            <a:ext cx="1656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그룹 237"/>
          <p:cNvGrpSpPr/>
          <p:nvPr/>
        </p:nvGrpSpPr>
        <p:grpSpPr>
          <a:xfrm>
            <a:off x="2448248" y="4812580"/>
            <a:ext cx="1744159" cy="371389"/>
            <a:chOff x="2045433" y="3212952"/>
            <a:chExt cx="1744159" cy="371389"/>
          </a:xfrm>
        </p:grpSpPr>
        <p:sp>
          <p:nvSpPr>
            <p:cNvPr id="239" name="모서리가 둥근 직사각형 238"/>
            <p:cNvSpPr/>
            <p:nvPr/>
          </p:nvSpPr>
          <p:spPr>
            <a:xfrm>
              <a:off x="2107916" y="3212952"/>
              <a:ext cx="1681676" cy="371389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r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a 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집</a:t>
              </a:r>
              <a:endParaRPr lang="ko-KR" altLang="en-US" sz="10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0" name="직사각형 239"/>
            <p:cNvSpPr/>
            <p:nvPr/>
          </p:nvSpPr>
          <p:spPr>
            <a:xfrm>
              <a:off x="2045433" y="3305799"/>
              <a:ext cx="484348" cy="1856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none" anchor="ctr"/>
            <a:lstStyle/>
            <a:p>
              <a:pPr algn="ctr"/>
              <a:endParaRPr lang="ko-KR" altLang="en-US" sz="1000" dirty="0">
                <a:solidFill>
                  <a:srgbClr val="0066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241" name="직선 연결선 240"/>
          <p:cNvCxnSpPr/>
          <p:nvPr/>
        </p:nvCxnSpPr>
        <p:spPr>
          <a:xfrm>
            <a:off x="4209825" y="4990692"/>
            <a:ext cx="1656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직사각형 23"/>
          <p:cNvSpPr>
            <a:spLocks noChangeArrowheads="1"/>
          </p:cNvSpPr>
          <p:nvPr/>
        </p:nvSpPr>
        <p:spPr bwMode="auto">
          <a:xfrm>
            <a:off x="2683328" y="5473550"/>
            <a:ext cx="1328737" cy="3603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wrap="none" anchor="ctr"/>
          <a:lstStyle/>
          <a:p>
            <a:pPr algn="ctr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eta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3" name="직선 화살표 연결선 242"/>
          <p:cNvCxnSpPr>
            <a:stCxn id="239" idx="2"/>
            <a:endCxn id="242" idx="0"/>
          </p:cNvCxnSpPr>
          <p:nvPr/>
        </p:nvCxnSpPr>
        <p:spPr>
          <a:xfrm flipH="1">
            <a:off x="3347697" y="5183969"/>
            <a:ext cx="3872" cy="289581"/>
          </a:xfrm>
          <a:prstGeom prst="straightConnector1">
            <a:avLst/>
          </a:prstGeom>
          <a:ln>
            <a:solidFill>
              <a:schemeClr val="tx1"/>
            </a:solidFill>
            <a:headEnd w="med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251441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</a:t>
            </a:r>
            <a:r>
              <a:rPr lang="en-US" altLang="ko-KR" dirty="0" smtClean="0"/>
              <a:t> </a:t>
            </a:r>
            <a:r>
              <a:rPr lang="ko-KR" altLang="en-US" dirty="0" smtClean="0"/>
              <a:t>시스템 시연</a:t>
            </a:r>
            <a:endParaRPr lang="ko-KR" alt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32024" y="764704"/>
            <a:ext cx="1460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[B-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쿠폰 플랫폼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]</a:t>
            </a:r>
            <a:endParaRPr lang="ko-KR" altLang="en-US" sz="14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6552704" y="817462"/>
            <a:ext cx="14526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[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시연 시나리오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]</a:t>
            </a:r>
            <a:endParaRPr lang="ko-KR" altLang="en-US" sz="14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아래쪽 화살표 11"/>
          <p:cNvSpPr/>
          <p:nvPr/>
        </p:nvSpPr>
        <p:spPr>
          <a:xfrm>
            <a:off x="7752235" y="2000117"/>
            <a:ext cx="792088" cy="36004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6539498" y="1321517"/>
            <a:ext cx="3168352" cy="578047"/>
          </a:xfrm>
          <a:prstGeom prst="round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tx1"/>
                </a:solidFill>
              </a:rPr>
              <a:t>쿠폰 옵션 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설정</a:t>
            </a:r>
            <a:r>
              <a:rPr lang="en-US" altLang="ko-KR" sz="1400" b="1" dirty="0">
                <a:solidFill>
                  <a:schemeClr val="tx1"/>
                </a:solidFill>
              </a:rPr>
              <a:t> 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및 쿠폰 발행</a:t>
            </a:r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6539498" y="2552070"/>
            <a:ext cx="3168352" cy="578047"/>
          </a:xfrm>
          <a:prstGeom prst="round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tx1"/>
                </a:solidFill>
              </a:rPr>
              <a:t>제휴사별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 </a:t>
            </a:r>
            <a:r>
              <a:rPr lang="ko-KR" altLang="en-US" sz="1400" b="1" dirty="0" err="1" smtClean="0">
                <a:solidFill>
                  <a:schemeClr val="tx1"/>
                </a:solidFill>
              </a:rPr>
              <a:t>쿠폰목록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 조회</a:t>
            </a:r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139" name="모서리가 둥근 직사각형 138"/>
          <p:cNvSpPr/>
          <p:nvPr/>
        </p:nvSpPr>
        <p:spPr>
          <a:xfrm>
            <a:off x="6539498" y="3782623"/>
            <a:ext cx="3168352" cy="578047"/>
          </a:xfrm>
          <a:prstGeom prst="round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tx1"/>
                </a:solidFill>
              </a:rPr>
              <a:t>미사용 쿠폰 조회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/ </a:t>
            </a:r>
            <a:r>
              <a:rPr lang="ko-KR" altLang="en-US" sz="1400" b="1" dirty="0" smtClean="0">
                <a:solidFill>
                  <a:schemeClr val="tx1"/>
                </a:solidFill>
              </a:rPr>
              <a:t>사용 처리</a:t>
            </a:r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140" name="모서리가 둥근 직사각형 139"/>
          <p:cNvSpPr/>
          <p:nvPr/>
        </p:nvSpPr>
        <p:spPr>
          <a:xfrm>
            <a:off x="6539498" y="5013176"/>
            <a:ext cx="3168352" cy="578047"/>
          </a:xfrm>
          <a:prstGeom prst="round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tx1"/>
                </a:solidFill>
              </a:rPr>
              <a:t>쿠폰 사용 완료 확인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(</a:t>
            </a:r>
            <a:r>
              <a:rPr lang="ko-KR" altLang="en-US" sz="1400" b="1" dirty="0" err="1" smtClean="0">
                <a:solidFill>
                  <a:schemeClr val="tx1"/>
                </a:solidFill>
              </a:rPr>
              <a:t>제휴사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)</a:t>
            </a:r>
            <a:endParaRPr lang="ko-KR" altLang="en-US" sz="1400" b="1" dirty="0">
              <a:solidFill>
                <a:schemeClr val="tx1"/>
              </a:solidFill>
            </a:endParaRPr>
          </a:p>
        </p:txBody>
      </p:sp>
      <p:sp>
        <p:nvSpPr>
          <p:cNvPr id="17" name="모서리가 둥근 직사각형 16">
            <a:hlinkClick r:id="rId2"/>
          </p:cNvPr>
          <p:cNvSpPr/>
          <p:nvPr/>
        </p:nvSpPr>
        <p:spPr>
          <a:xfrm>
            <a:off x="2272373" y="5617986"/>
            <a:ext cx="2088232" cy="432048"/>
          </a:xfrm>
          <a:prstGeom prst="roundRect">
            <a:avLst/>
          </a:prstGeom>
          <a:solidFill>
            <a:srgbClr val="FFC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tx1"/>
                </a:solidFill>
              </a:rPr>
              <a:t>시연 하기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"/>
          <a:srcRect l="10055" t="19551" r="10055" b="5901"/>
          <a:stretch/>
        </p:blipFill>
        <p:spPr>
          <a:xfrm>
            <a:off x="457072" y="1318286"/>
            <a:ext cx="5735592" cy="41269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8" name="아래쪽 화살표 17"/>
          <p:cNvSpPr/>
          <p:nvPr/>
        </p:nvSpPr>
        <p:spPr>
          <a:xfrm>
            <a:off x="7752235" y="3254618"/>
            <a:ext cx="792088" cy="36004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9" name="아래쪽 화살표 18"/>
          <p:cNvSpPr/>
          <p:nvPr/>
        </p:nvSpPr>
        <p:spPr>
          <a:xfrm>
            <a:off x="7752235" y="4509120"/>
            <a:ext cx="792088" cy="36004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740747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63"/>
          <p:cNvSpPr txBox="1">
            <a:spLocks/>
          </p:cNvSpPr>
          <p:nvPr/>
        </p:nvSpPr>
        <p:spPr bwMode="auto">
          <a:xfrm>
            <a:off x="219577" y="166688"/>
            <a:ext cx="9785934" cy="3540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defPPr>
              <a:defRPr lang="ko-KR"/>
            </a:defPPr>
            <a:lvl1pPr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2pPr>
            <a:lvl3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3pPr>
            <a:lvl4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4pPr>
            <a:lvl5pPr algn="ctr" eaLnBrk="0" hangingPunct="0"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tabLst>
                <a:tab pos="4127500" algn="l"/>
                <a:tab pos="9313863" algn="r"/>
              </a:tabLst>
              <a:defRPr sz="1500" b="1"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dirty="0" smtClean="0"/>
              <a:t>B-</a:t>
            </a:r>
            <a:r>
              <a:rPr lang="ko-KR" altLang="en-US" dirty="0" smtClean="0"/>
              <a:t>쿠폰의 여러가지</a:t>
            </a:r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5164" y="5102105"/>
            <a:ext cx="3060888" cy="1667243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19" y="5427097"/>
            <a:ext cx="2438114" cy="1314461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51765">
            <a:off x="480701" y="3564056"/>
            <a:ext cx="3977180" cy="2008279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5"/>
          <a:srcRect t="4968" b="-1"/>
          <a:stretch/>
        </p:blipFill>
        <p:spPr>
          <a:xfrm rot="20633704">
            <a:off x="6115207" y="4509594"/>
            <a:ext cx="2953924" cy="113242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6"/>
          <a:srcRect t="1857"/>
          <a:stretch/>
        </p:blipFill>
        <p:spPr>
          <a:xfrm rot="370613">
            <a:off x="7254705" y="1758613"/>
            <a:ext cx="2676347" cy="159490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9287" y="764704"/>
            <a:ext cx="1846816" cy="1851161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6642" y="3149152"/>
            <a:ext cx="3552446" cy="120831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1054135">
            <a:off x="2959786" y="1073732"/>
            <a:ext cx="1217818" cy="1663736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14798" y="3174790"/>
            <a:ext cx="4385705" cy="1493006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11"/>
          <a:srcRect l="22911" t="27320" r="22280" b="43700"/>
          <a:stretch/>
        </p:blipFill>
        <p:spPr>
          <a:xfrm>
            <a:off x="7027597" y="5862798"/>
            <a:ext cx="2736304" cy="72339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456" y="1052736"/>
            <a:ext cx="2880320" cy="2160240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52724" y="2521252"/>
            <a:ext cx="1819275" cy="838200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1729522"/>
            <a:ext cx="2285239" cy="1713929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212015" y="545517"/>
            <a:ext cx="9793495" cy="35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0" bIns="36000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4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블록체인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맛보러 왔다가 전문가가 되어버린 </a:t>
            </a:r>
            <a:r>
              <a:rPr lang="ko-KR" altLang="en-US" sz="14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블록체인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파워스테이션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212016" y="962708"/>
            <a:ext cx="9793494" cy="5778849"/>
          </a:xfrm>
          <a:prstGeom prst="roundRect">
            <a:avLst>
              <a:gd name="adj" fmla="val 2837"/>
            </a:avLst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ko-KR" altLang="en-US" sz="1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634166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모서리가 둥근 직사각형 2"/>
          <p:cNvSpPr/>
          <p:nvPr/>
        </p:nvSpPr>
        <p:spPr>
          <a:xfrm>
            <a:off x="2414740" y="1988840"/>
            <a:ext cx="5400600" cy="288032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Backup</a:t>
            </a:r>
            <a:endParaRPr lang="ko-KR" altLang="en-US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506313859"/>
      </p:ext>
    </p:extLst>
  </p:cSld>
  <p:clrMapOvr>
    <a:masterClrMapping/>
  </p:clrMapOvr>
  <p:transition spd="slow" advTm="2000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009-02-16 오후 8:59: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09-02-16 오후 8:59:1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009-02-16 오후 8:59: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9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5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6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7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사용자 지정 1">
      <a:majorFont>
        <a:latin typeface="Moebius"/>
        <a:ea typeface="맑은 고딕"/>
        <a:cs typeface=""/>
      </a:majorFont>
      <a:minorFont>
        <a:latin typeface="Moebius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28575" algn="ctr">
          <a:solidFill>
            <a:srgbClr val="A6A6A6"/>
          </a:solidFill>
          <a:miter lim="800000"/>
          <a:headEnd/>
          <a:tailEnd/>
        </a:ln>
      </a:spPr>
      <a:bodyPr anchor="ctr"/>
      <a:lstStyle>
        <a:defPPr marL="228600" indent="-228600" latinLnBrk="0">
          <a:lnSpc>
            <a:spcPts val="1700"/>
          </a:lnSpc>
          <a:defRPr sz="1300" b="1" dirty="0" smtClean="0">
            <a:solidFill>
              <a:srgbClr val="000000"/>
            </a:solidFill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0" rIns="1800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태고딕" pitchFamily="18" charset="-127"/>
            <a:cs typeface="Arials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79388" marR="0" indent="-179388" algn="l" defTabSz="914400" rtl="0" eaLnBrk="0" fontAlgn="base" latinLnBrk="1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70000"/>
          <a:buFont typeface="Wingdings" pitchFamily="2" charset="2"/>
          <a:buNone/>
          <a:tabLst/>
          <a:defRPr kumimoji="1" sz="1000" b="1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n-ea"/>
          </a:defRPr>
        </a:defPPr>
      </a:lstStyle>
    </a:txDef>
  </a:objectDefaults>
  <a:extraClrSchemeLst>
    <a:extraClrScheme>
      <a:clrScheme name="1_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8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3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14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5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6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EFEC"/>
        </a:solidFill>
        <a:ln w="3175">
          <a:noFill/>
          <a:round/>
          <a:headEnd type="none" w="sm" len="sm"/>
          <a:tailEnd type="none" w="sm" len="sm"/>
        </a:ln>
      </a:spPr>
      <a:bodyPr lIns="144000" rIns="0" anchor="ctr"/>
      <a:lstStyle>
        <a:defPPr eaLnBrk="0" latinLnBrk="0" hangingPunct="0">
          <a:defRPr sz="1200" b="1" dirty="0" smtClean="0">
            <a:solidFill>
              <a:srgbClr val="000000"/>
            </a:solidFill>
            <a:latin typeface="Times New Roman" pitchFamily="18" charset="0"/>
            <a:ea typeface="맑은 고딕" pitchFamily="50" charset="-127"/>
            <a:cs typeface="Times New Roman" pitchFamily="18" charset="0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1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2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EFEC"/>
        </a:solidFill>
        <a:ln w="3175">
          <a:noFill/>
          <a:round/>
          <a:headEnd type="none" w="sm" len="sm"/>
          <a:tailEnd type="none" w="sm" len="sm"/>
        </a:ln>
      </a:spPr>
      <a:bodyPr lIns="144000" rIns="0" anchor="ctr"/>
      <a:lstStyle>
        <a:defPPr eaLnBrk="0" latinLnBrk="0" hangingPunct="0">
          <a:defRPr sz="1200" b="1" dirty="0" smtClean="0">
            <a:solidFill>
              <a:srgbClr val="000000"/>
            </a:solidFill>
            <a:latin typeface="Times New Roman" pitchFamily="18" charset="0"/>
            <a:ea typeface="맑은 고딕" pitchFamily="50" charset="-127"/>
            <a:cs typeface="Times New Roman" pitchFamily="18" charset="0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tx1"/>
          </a:solidFill>
          <a:prstDash val="sysDot"/>
        </a:ln>
      </a:spPr>
      <a:bodyPr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>
        <a:spAutoFit/>
      </a:bodyPr>
      <a:lstStyle>
        <a:defPPr marL="180975" indent="-180975">
          <a:lnSpc>
            <a:spcPct val="120000"/>
          </a:lnSpc>
          <a:spcAft>
            <a:spcPts val="300"/>
          </a:spcAft>
          <a:buFont typeface="Wingdings" pitchFamily="2" charset="2"/>
          <a:buChar char="§"/>
          <a:defRPr sz="1050" b="1" dirty="0" smtClean="0">
            <a:latin typeface="Times New Roman" pitchFamily="18" charset="0"/>
            <a:ea typeface="맑은 고딕" pitchFamily="50" charset="-127"/>
            <a:cs typeface="Times New Roman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3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4_기획본부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E4DF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839</TotalTime>
  <Words>1480</Words>
  <Application>Microsoft Office PowerPoint</Application>
  <PresentationFormat>사용자 지정</PresentationFormat>
  <Paragraphs>568</Paragraphs>
  <Slides>19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8</vt:i4>
      </vt:variant>
      <vt:variant>
        <vt:lpstr>슬라이드 제목</vt:lpstr>
      </vt:variant>
      <vt:variant>
        <vt:i4>19</vt:i4>
      </vt:variant>
    </vt:vector>
  </HeadingPairs>
  <TitlesOfParts>
    <vt:vector size="49" baseType="lpstr">
      <vt:lpstr>Arials</vt:lpstr>
      <vt:lpstr>HY태고딕</vt:lpstr>
      <vt:lpstr>Moebius</vt:lpstr>
      <vt:lpstr>Optima</vt:lpstr>
      <vt:lpstr>가는각진제목체</vt:lpstr>
      <vt:lpstr>굴림</vt:lpstr>
      <vt:lpstr>맑은 고딕</vt:lpstr>
      <vt:lpstr>휴먼둥근헤드라인</vt:lpstr>
      <vt:lpstr>Arial</vt:lpstr>
      <vt:lpstr>Tahoma</vt:lpstr>
      <vt:lpstr>Times New Roman</vt:lpstr>
      <vt:lpstr>Wingdings</vt:lpstr>
      <vt:lpstr>9_기획본부</vt:lpstr>
      <vt:lpstr>10_기획본부</vt:lpstr>
      <vt:lpstr>11_기획본부</vt:lpstr>
      <vt:lpstr>12_기획본부</vt:lpstr>
      <vt:lpstr>기획본부</vt:lpstr>
      <vt:lpstr>1_기획본부</vt:lpstr>
      <vt:lpstr>2_기획본부</vt:lpstr>
      <vt:lpstr>3_기획본부</vt:lpstr>
      <vt:lpstr>4_기획본부</vt:lpstr>
      <vt:lpstr>5_기획본부</vt:lpstr>
      <vt:lpstr>6_기획본부</vt:lpstr>
      <vt:lpstr>7_기획본부</vt:lpstr>
      <vt:lpstr>1_디자인 사용자 지정</vt:lpstr>
      <vt:lpstr>8_기획본부</vt:lpstr>
      <vt:lpstr>13_기획본부</vt:lpstr>
      <vt:lpstr>14_기획본부</vt:lpstr>
      <vt:lpstr>15_기획본부</vt:lpstr>
      <vt:lpstr>16_기획본부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SK C&amp;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SKCCIT-1003\Administrator</dc:creator>
  <cp:lastModifiedBy>강성일(Kang Sung Il)/통신MIS Unit/SK</cp:lastModifiedBy>
  <cp:revision>9202</cp:revision>
  <cp:lastPrinted>2018-05-02T01:32:47Z</cp:lastPrinted>
  <dcterms:created xsi:type="dcterms:W3CDTF">2008-07-17T10:41:32Z</dcterms:created>
  <dcterms:modified xsi:type="dcterms:W3CDTF">2018-10-18T05:55:50Z</dcterms:modified>
</cp:coreProperties>
</file>